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0.xml" ContentType="application/vnd.openxmlformats-officedocument.theme+xml"/>
  <Override PartName="/ppt/tags/tag6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11.xml" ContentType="application/vnd.openxmlformats-officedocument.theme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2.xml" ContentType="application/vnd.openxmlformats-officedocument.theme+xml"/>
  <Override PartName="/ppt/tags/tag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3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4.xml" ContentType="application/vnd.openxmlformats-officedocument.theme+xml"/>
  <Override PartName="/ppt/tags/tag9.xml" ContentType="application/vnd.openxmlformats-officedocument.presentationml.tags+xml"/>
  <Override PartName="/ppt/theme/theme1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6"/>
    <p:sldMasterId id="2147483673" r:id="rId7"/>
    <p:sldMasterId id="2147483678" r:id="rId8"/>
    <p:sldMasterId id="2147483680" r:id="rId9"/>
    <p:sldMasterId id="2147483842" r:id="rId10"/>
    <p:sldMasterId id="2147483852" r:id="rId11"/>
    <p:sldMasterId id="2147483858" r:id="rId12"/>
    <p:sldMasterId id="2147483865" r:id="rId13"/>
    <p:sldMasterId id="2147483878" r:id="rId14"/>
    <p:sldMasterId id="2147483885" r:id="rId15"/>
    <p:sldMasterId id="2147483891" r:id="rId16"/>
    <p:sldMasterId id="2147483900" r:id="rId17"/>
    <p:sldMasterId id="2147483909" r:id="rId18"/>
    <p:sldMasterId id="2147483923" r:id="rId19"/>
  </p:sldMasterIdLst>
  <p:notesMasterIdLst>
    <p:notesMasterId r:id="rId25"/>
  </p:notesMasterIdLst>
  <p:sldIdLst>
    <p:sldId id="2146847036" r:id="rId20"/>
    <p:sldId id="2146847037" r:id="rId21"/>
    <p:sldId id="2146847038" r:id="rId22"/>
    <p:sldId id="2146847040" r:id="rId23"/>
    <p:sldId id="264" r:id="rId2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AC650C-4133-C6D5-F83D-A9B1D86DA38A}" v="221" dt="2023-03-05T19:54:04.109"/>
    <p1510:client id="{3A75871F-E1EA-4C5D-9E0C-FC09F0A5BF59}" v="351" dt="2023-03-06T11:05:26.107"/>
    <p1510:client id="{5AAEF449-F389-6D2A-AE84-A30413117423}" v="468" dt="2023-03-06T11:39:57.318"/>
    <p1510:client id="{B71C7EB4-5E87-F244-A228-362556BA8B83}" v="107" dt="2023-03-06T12:03:11.3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4" autoAdjust="0"/>
    <p:restoredTop sz="94660"/>
  </p:normalViewPr>
  <p:slideViewPr>
    <p:cSldViewPr snapToGrid="0">
      <p:cViewPr varScale="1">
        <p:scale>
          <a:sx n="98" d="100"/>
          <a:sy n="98" d="100"/>
        </p:scale>
        <p:origin x="27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Master" Target="slideMasters/slideMaster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Master" Target="slideMasters/slideMaster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0" Type="http://schemas.openxmlformats.org/officeDocument/2006/relationships/slide" Target="slides/slide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4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5.xml"/><Relationship Id="rId19" Type="http://schemas.openxmlformats.org/officeDocument/2006/relationships/slideMaster" Target="slideMasters/slideMaster14.xml"/><Relationship Id="rId3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3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dramouli, Devaki (Nokia - US/Dallas)" userId="S::devaki.chandramouli@nokia.com::ebf2a9f8-651b-4485-926f-9d93c0eafbc5" providerId="AD" clId="Web-{C90C2ED2-C774-7D01-A8FE-376FA3A90951}"/>
    <pc:docChg chg="modSld">
      <pc:chgData name="Chandramouli, Devaki (Nokia - US/Dallas)" userId="S::devaki.chandramouli@nokia.com::ebf2a9f8-651b-4485-926f-9d93c0eafbc5" providerId="AD" clId="Web-{C90C2ED2-C774-7D01-A8FE-376FA3A90951}" dt="2022-06-11T03:03:32.349" v="120"/>
      <pc:docMkLst>
        <pc:docMk/>
      </pc:docMkLst>
      <pc:sldChg chg="addSp delSp modSp">
        <pc:chgData name="Chandramouli, Devaki (Nokia - US/Dallas)" userId="S::devaki.chandramouli@nokia.com::ebf2a9f8-651b-4485-926f-9d93c0eafbc5" providerId="AD" clId="Web-{C90C2ED2-C774-7D01-A8FE-376FA3A90951}" dt="2022-06-11T03:02:28.629" v="72" actId="20577"/>
        <pc:sldMkLst>
          <pc:docMk/>
          <pc:sldMk cId="2009724111" sldId="2134805617"/>
        </pc:sldMkLst>
        <pc:spChg chg="mod">
          <ac:chgData name="Chandramouli, Devaki (Nokia - US/Dallas)" userId="S::devaki.chandramouli@nokia.com::ebf2a9f8-651b-4485-926f-9d93c0eafbc5" providerId="AD" clId="Web-{C90C2ED2-C774-7D01-A8FE-376FA3A90951}" dt="2022-06-11T03:02:28.629" v="72" actId="20577"/>
          <ac:spMkLst>
            <pc:docMk/>
            <pc:sldMk cId="2009724111" sldId="2134805617"/>
            <ac:spMk id="4" creationId="{FD9B9349-5219-4A4E-8125-7E6F849D4C07}"/>
          </ac:spMkLst>
        </pc:spChg>
        <pc:spChg chg="add del">
          <ac:chgData name="Chandramouli, Devaki (Nokia - US/Dallas)" userId="S::devaki.chandramouli@nokia.com::ebf2a9f8-651b-4485-926f-9d93c0eafbc5" providerId="AD" clId="Web-{C90C2ED2-C774-7D01-A8FE-376FA3A90951}" dt="2022-06-11T03:01:19.253" v="25"/>
          <ac:spMkLst>
            <pc:docMk/>
            <pc:sldMk cId="2009724111" sldId="2134805617"/>
            <ac:spMk id="5" creationId="{90E42669-5F8F-B7BE-521C-973C66491818}"/>
          </ac:spMkLst>
        </pc:spChg>
      </pc:sldChg>
      <pc:sldChg chg="addSp delSp modSp">
        <pc:chgData name="Chandramouli, Devaki (Nokia - US/Dallas)" userId="S::devaki.chandramouli@nokia.com::ebf2a9f8-651b-4485-926f-9d93c0eafbc5" providerId="AD" clId="Web-{C90C2ED2-C774-7D01-A8FE-376FA3A90951}" dt="2022-06-11T03:03:32.349" v="120"/>
        <pc:sldMkLst>
          <pc:docMk/>
          <pc:sldMk cId="158966349" sldId="2146846823"/>
        </pc:sldMkLst>
        <pc:spChg chg="mod">
          <ac:chgData name="Chandramouli, Devaki (Nokia - US/Dallas)" userId="S::devaki.chandramouli@nokia.com::ebf2a9f8-651b-4485-926f-9d93c0eafbc5" providerId="AD" clId="Web-{C90C2ED2-C774-7D01-A8FE-376FA3A90951}" dt="2022-06-11T03:03:13.176" v="118" actId="20577"/>
          <ac:spMkLst>
            <pc:docMk/>
            <pc:sldMk cId="158966349" sldId="2146846823"/>
            <ac:spMk id="4" creationId="{FD9B9349-5219-4A4E-8125-7E6F849D4C07}"/>
          </ac:spMkLst>
        </pc:spChg>
        <pc:spChg chg="add del">
          <ac:chgData name="Chandramouli, Devaki (Nokia - US/Dallas)" userId="S::devaki.chandramouli@nokia.com::ebf2a9f8-651b-4485-926f-9d93c0eafbc5" providerId="AD" clId="Web-{C90C2ED2-C774-7D01-A8FE-376FA3A90951}" dt="2022-06-11T03:03:32.349" v="120"/>
          <ac:spMkLst>
            <pc:docMk/>
            <pc:sldMk cId="158966349" sldId="2146846823"/>
            <ac:spMk id="5" creationId="{FC021BAC-8D05-D3AF-9065-084040BAA727}"/>
          </ac:spMkLst>
        </pc:spChg>
      </pc:sldChg>
    </pc:docChg>
  </pc:docChgLst>
  <pc:docChgLst>
    <pc:chgData name="Alessio Casati (Nokia)" userId="S::alessio.casati@nokia.com::6f050b0a-bf61-49f1-93be-076af52cf2e7" providerId="AD" clId="Web-{B1A950F3-0C1C-8678-B8BA-47CB6A2AC29A}"/>
    <pc:docChg chg="modSld">
      <pc:chgData name="Alessio Casati (Nokia)" userId="S::alessio.casati@nokia.com::6f050b0a-bf61-49f1-93be-076af52cf2e7" providerId="AD" clId="Web-{B1A950F3-0C1C-8678-B8BA-47CB6A2AC29A}" dt="2022-12-02T11:47:39.860" v="49" actId="20577"/>
      <pc:docMkLst>
        <pc:docMk/>
      </pc:docMkLst>
      <pc:sldChg chg="modSp">
        <pc:chgData name="Alessio Casati (Nokia)" userId="S::alessio.casati@nokia.com::6f050b0a-bf61-49f1-93be-076af52cf2e7" providerId="AD" clId="Web-{B1A950F3-0C1C-8678-B8BA-47CB6A2AC29A}" dt="2022-12-02T11:47:39.860" v="49" actId="20577"/>
        <pc:sldMkLst>
          <pc:docMk/>
          <pc:sldMk cId="1762226801" sldId="2146846817"/>
        </pc:sldMkLst>
        <pc:spChg chg="mod">
          <ac:chgData name="Alessio Casati (Nokia)" userId="S::alessio.casati@nokia.com::6f050b0a-bf61-49f1-93be-076af52cf2e7" providerId="AD" clId="Web-{B1A950F3-0C1C-8678-B8BA-47CB6A2AC29A}" dt="2022-12-02T11:47:39.860" v="49" actId="20577"/>
          <ac:spMkLst>
            <pc:docMk/>
            <pc:sldMk cId="1762226801" sldId="2146846817"/>
            <ac:spMk id="4" creationId="{CD72C33D-DF40-4601-AF02-8DFD5A6EA958}"/>
          </ac:spMkLst>
        </pc:spChg>
      </pc:sldChg>
    </pc:docChg>
  </pc:docChgLst>
  <pc:docChgLst>
    <pc:chgData name="Liebhart, Rainer (Nokia - DE/Munich)" userId="9d27e965-bed7-441e-8c07-02c758a9258d" providerId="ADAL" clId="{5E48742D-49CE-40D9-A16D-B54550F67A4D}"/>
    <pc:docChg chg="undo redo custSel addSld delSld modSld sldOrd">
      <pc:chgData name="Liebhart, Rainer (Nokia - DE/Munich)" userId="9d27e965-bed7-441e-8c07-02c758a9258d" providerId="ADAL" clId="{5E48742D-49CE-40D9-A16D-B54550F67A4D}" dt="2021-11-30T09:32:17.349" v="1776" actId="6549"/>
      <pc:docMkLst>
        <pc:docMk/>
      </pc:docMkLst>
      <pc:sldChg chg="del">
        <pc:chgData name="Liebhart, Rainer (Nokia - DE/Munich)" userId="9d27e965-bed7-441e-8c07-02c758a9258d" providerId="ADAL" clId="{5E48742D-49CE-40D9-A16D-B54550F67A4D}" dt="2021-11-24T12:49:17.393" v="9" actId="47"/>
        <pc:sldMkLst>
          <pc:docMk/>
          <pc:sldMk cId="1886061748" sldId="355"/>
        </pc:sldMkLst>
      </pc:sldChg>
      <pc:sldChg chg="modSp mod">
        <pc:chgData name="Liebhart, Rainer (Nokia - DE/Munich)" userId="9d27e965-bed7-441e-8c07-02c758a9258d" providerId="ADAL" clId="{5E48742D-49CE-40D9-A16D-B54550F67A4D}" dt="2021-11-29T10:04:39.896" v="192" actId="6549"/>
        <pc:sldMkLst>
          <pc:docMk/>
          <pc:sldMk cId="3932309764" sldId="141168862"/>
        </pc:sldMkLst>
        <pc:spChg chg="mod">
          <ac:chgData name="Liebhart, Rainer (Nokia - DE/Munich)" userId="9d27e965-bed7-441e-8c07-02c758a9258d" providerId="ADAL" clId="{5E48742D-49CE-40D9-A16D-B54550F67A4D}" dt="2021-11-29T10:04:39.896" v="192" actId="6549"/>
          <ac:spMkLst>
            <pc:docMk/>
            <pc:sldMk cId="3932309764" sldId="141168862"/>
            <ac:spMk id="2" creationId="{673AE4A4-F521-4B46-BB77-BDFFF6278B02}"/>
          </ac:spMkLst>
        </pc:spChg>
      </pc:sldChg>
      <pc:sldChg chg="del">
        <pc:chgData name="Liebhart, Rainer (Nokia - DE/Munich)" userId="9d27e965-bed7-441e-8c07-02c758a9258d" providerId="ADAL" clId="{5E48742D-49CE-40D9-A16D-B54550F67A4D}" dt="2021-11-29T10:00:41.614" v="143" actId="47"/>
        <pc:sldMkLst>
          <pc:docMk/>
          <pc:sldMk cId="2093721602" sldId="2134805360"/>
        </pc:sldMkLst>
      </pc:sldChg>
      <pc:sldChg chg="del">
        <pc:chgData name="Liebhart, Rainer (Nokia - DE/Munich)" userId="9d27e965-bed7-441e-8c07-02c758a9258d" providerId="ADAL" clId="{5E48742D-49CE-40D9-A16D-B54550F67A4D}" dt="2021-11-24T12:49:18.134" v="10" actId="47"/>
        <pc:sldMkLst>
          <pc:docMk/>
          <pc:sldMk cId="1079460770" sldId="2134805373"/>
        </pc:sldMkLst>
      </pc:sldChg>
      <pc:sldChg chg="del">
        <pc:chgData name="Liebhart, Rainer (Nokia - DE/Munich)" userId="9d27e965-bed7-441e-8c07-02c758a9258d" providerId="ADAL" clId="{5E48742D-49CE-40D9-A16D-B54550F67A4D}" dt="2021-11-24T12:49:19.237" v="12" actId="47"/>
        <pc:sldMkLst>
          <pc:docMk/>
          <pc:sldMk cId="3206141227" sldId="2134805374"/>
        </pc:sldMkLst>
      </pc:sldChg>
      <pc:sldChg chg="modSp mod">
        <pc:chgData name="Liebhart, Rainer (Nokia - DE/Munich)" userId="9d27e965-bed7-441e-8c07-02c758a9258d" providerId="ADAL" clId="{5E48742D-49CE-40D9-A16D-B54550F67A4D}" dt="2021-11-29T10:04:51.114" v="208" actId="6549"/>
        <pc:sldMkLst>
          <pc:docMk/>
          <pc:sldMk cId="831607406" sldId="2134805423"/>
        </pc:sldMkLst>
        <pc:spChg chg="mod">
          <ac:chgData name="Liebhart, Rainer (Nokia - DE/Munich)" userId="9d27e965-bed7-441e-8c07-02c758a9258d" providerId="ADAL" clId="{5E48742D-49CE-40D9-A16D-B54550F67A4D}" dt="2021-11-29T10:04:51.114" v="208" actId="6549"/>
          <ac:spMkLst>
            <pc:docMk/>
            <pc:sldMk cId="831607406" sldId="2134805423"/>
            <ac:spMk id="2" creationId="{673AE4A4-F521-4B46-BB77-BDFFF6278B02}"/>
          </ac:spMkLst>
        </pc:spChg>
      </pc:sldChg>
      <pc:sldChg chg="del">
        <pc:chgData name="Liebhart, Rainer (Nokia - DE/Munich)" userId="9d27e965-bed7-441e-8c07-02c758a9258d" providerId="ADAL" clId="{5E48742D-49CE-40D9-A16D-B54550F67A4D}" dt="2021-11-23T13:00:38.985" v="1" actId="47"/>
        <pc:sldMkLst>
          <pc:docMk/>
          <pc:sldMk cId="4125104634" sldId="2134805441"/>
        </pc:sldMkLst>
      </pc:sldChg>
      <pc:sldChg chg="modSp del mod">
        <pc:chgData name="Liebhart, Rainer (Nokia - DE/Munich)" userId="9d27e965-bed7-441e-8c07-02c758a9258d" providerId="ADAL" clId="{5E48742D-49CE-40D9-A16D-B54550F67A4D}" dt="2021-11-29T10:04:31.975" v="167" actId="47"/>
        <pc:sldMkLst>
          <pc:docMk/>
          <pc:sldMk cId="1956657785" sldId="2134805448"/>
        </pc:sldMkLst>
        <pc:spChg chg="mod">
          <ac:chgData name="Liebhart, Rainer (Nokia - DE/Munich)" userId="9d27e965-bed7-441e-8c07-02c758a9258d" providerId="ADAL" clId="{5E48742D-49CE-40D9-A16D-B54550F67A4D}" dt="2021-11-29T10:01:06.941" v="146" actId="14100"/>
          <ac:spMkLst>
            <pc:docMk/>
            <pc:sldMk cId="1956657785" sldId="2134805448"/>
            <ac:spMk id="6" creationId="{2E20DBE3-132B-4E49-9B12-D7A9DE1B1D38}"/>
          </ac:spMkLst>
        </pc:spChg>
      </pc:sldChg>
      <pc:sldChg chg="del">
        <pc:chgData name="Liebhart, Rainer (Nokia - DE/Munich)" userId="9d27e965-bed7-441e-8c07-02c758a9258d" providerId="ADAL" clId="{5E48742D-49CE-40D9-A16D-B54550F67A4D}" dt="2021-11-23T13:00:39.688" v="2" actId="47"/>
        <pc:sldMkLst>
          <pc:docMk/>
          <pc:sldMk cId="4124589453" sldId="2134805450"/>
        </pc:sldMkLst>
      </pc:sldChg>
      <pc:sldChg chg="del">
        <pc:chgData name="Liebhart, Rainer (Nokia - DE/Munich)" userId="9d27e965-bed7-441e-8c07-02c758a9258d" providerId="ADAL" clId="{5E48742D-49CE-40D9-A16D-B54550F67A4D}" dt="2021-11-29T10:04:32.445" v="168" actId="47"/>
        <pc:sldMkLst>
          <pc:docMk/>
          <pc:sldMk cId="1758828900" sldId="2134805451"/>
        </pc:sldMkLst>
      </pc:sldChg>
      <pc:sldChg chg="del">
        <pc:chgData name="Liebhart, Rainer (Nokia - DE/Munich)" userId="9d27e965-bed7-441e-8c07-02c758a9258d" providerId="ADAL" clId="{5E48742D-49CE-40D9-A16D-B54550F67A4D}" dt="2021-11-23T13:00:43.551" v="5" actId="47"/>
        <pc:sldMkLst>
          <pc:docMk/>
          <pc:sldMk cId="3975060873" sldId="2134805452"/>
        </pc:sldMkLst>
      </pc:sldChg>
      <pc:sldChg chg="del">
        <pc:chgData name="Liebhart, Rainer (Nokia - DE/Munich)" userId="9d27e965-bed7-441e-8c07-02c758a9258d" providerId="ADAL" clId="{5E48742D-49CE-40D9-A16D-B54550F67A4D}" dt="2021-11-23T13:03:25.231" v="7" actId="47"/>
        <pc:sldMkLst>
          <pc:docMk/>
          <pc:sldMk cId="2606076964" sldId="2134805454"/>
        </pc:sldMkLst>
      </pc:sldChg>
      <pc:sldChg chg="del">
        <pc:chgData name="Liebhart, Rainer (Nokia - DE/Munich)" userId="9d27e965-bed7-441e-8c07-02c758a9258d" providerId="ADAL" clId="{5E48742D-49CE-40D9-A16D-B54550F67A4D}" dt="2021-11-24T12:49:16.471" v="8" actId="47"/>
        <pc:sldMkLst>
          <pc:docMk/>
          <pc:sldMk cId="1085580233" sldId="2134805463"/>
        </pc:sldMkLst>
      </pc:sldChg>
      <pc:sldChg chg="del">
        <pc:chgData name="Liebhart, Rainer (Nokia - DE/Munich)" userId="9d27e965-bed7-441e-8c07-02c758a9258d" providerId="ADAL" clId="{5E48742D-49CE-40D9-A16D-B54550F67A4D}" dt="2021-11-24T12:49:18.650" v="11" actId="47"/>
        <pc:sldMkLst>
          <pc:docMk/>
          <pc:sldMk cId="3057706006" sldId="2134805486"/>
        </pc:sldMkLst>
      </pc:sldChg>
      <pc:sldChg chg="del">
        <pc:chgData name="Liebhart, Rainer (Nokia - DE/Munich)" userId="9d27e965-bed7-441e-8c07-02c758a9258d" providerId="ADAL" clId="{5E48742D-49CE-40D9-A16D-B54550F67A4D}" dt="2021-11-23T13:00:44.331" v="6" actId="47"/>
        <pc:sldMkLst>
          <pc:docMk/>
          <pc:sldMk cId="3112096374" sldId="2134805524"/>
        </pc:sldMkLst>
      </pc:sldChg>
      <pc:sldChg chg="delSp modSp mod ord">
        <pc:chgData name="Liebhart, Rainer (Nokia - DE/Munich)" userId="9d27e965-bed7-441e-8c07-02c758a9258d" providerId="ADAL" clId="{5E48742D-49CE-40D9-A16D-B54550F67A4D}" dt="2021-11-30T09:32:17.349" v="1776" actId="6549"/>
        <pc:sldMkLst>
          <pc:docMk/>
          <pc:sldMk cId="2869034495" sldId="2134805531"/>
        </pc:sldMkLst>
        <pc:spChg chg="del mod">
          <ac:chgData name="Liebhart, Rainer (Nokia - DE/Munich)" userId="9d27e965-bed7-441e-8c07-02c758a9258d" providerId="ADAL" clId="{5E48742D-49CE-40D9-A16D-B54550F67A4D}" dt="2021-11-30T08:34:29.428" v="1080" actId="478"/>
          <ac:spMkLst>
            <pc:docMk/>
            <pc:sldMk cId="2869034495" sldId="2134805531"/>
            <ac:spMk id="3" creationId="{93D73AC0-3E56-4897-9A8C-F6DEF17975F1}"/>
          </ac:spMkLst>
        </pc:spChg>
        <pc:spChg chg="mod">
          <ac:chgData name="Liebhart, Rainer (Nokia - DE/Munich)" userId="9d27e965-bed7-441e-8c07-02c758a9258d" providerId="ADAL" clId="{5E48742D-49CE-40D9-A16D-B54550F67A4D}" dt="2021-11-30T09:32:17.349" v="1776" actId="6549"/>
          <ac:spMkLst>
            <pc:docMk/>
            <pc:sldMk cId="2869034495" sldId="2134805531"/>
            <ac:spMk id="6" creationId="{2E20DBE3-132B-4E49-9B12-D7A9DE1B1D38}"/>
          </ac:spMkLst>
        </pc:spChg>
        <pc:spChg chg="mod">
          <ac:chgData name="Liebhart, Rainer (Nokia - DE/Munich)" userId="9d27e965-bed7-441e-8c07-02c758a9258d" providerId="ADAL" clId="{5E48742D-49CE-40D9-A16D-B54550F67A4D}" dt="2021-11-30T08:46:27.004" v="1390" actId="1036"/>
          <ac:spMkLst>
            <pc:docMk/>
            <pc:sldMk cId="2869034495" sldId="2134805531"/>
            <ac:spMk id="10" creationId="{FB17815A-60B6-42D8-9720-6AE98A1B851D}"/>
          </ac:spMkLst>
        </pc:spChg>
        <pc:spChg chg="mod">
          <ac:chgData name="Liebhart, Rainer (Nokia - DE/Munich)" userId="9d27e965-bed7-441e-8c07-02c758a9258d" providerId="ADAL" clId="{5E48742D-49CE-40D9-A16D-B54550F67A4D}" dt="2021-11-30T08:45:54.637" v="1342" actId="20577"/>
          <ac:spMkLst>
            <pc:docMk/>
            <pc:sldMk cId="2869034495" sldId="2134805531"/>
            <ac:spMk id="11" creationId="{4530E830-5FE1-4CA0-8A0E-B78352611AD4}"/>
          </ac:spMkLst>
        </pc:spChg>
      </pc:sldChg>
      <pc:sldChg chg="del">
        <pc:chgData name="Liebhart, Rainer (Nokia - DE/Munich)" userId="9d27e965-bed7-441e-8c07-02c758a9258d" providerId="ADAL" clId="{5E48742D-49CE-40D9-A16D-B54550F67A4D}" dt="2021-11-29T10:05:27.624" v="209" actId="2696"/>
        <pc:sldMkLst>
          <pc:docMk/>
          <pc:sldMk cId="3384556551" sldId="2134805531"/>
        </pc:sldMkLst>
      </pc:sldChg>
      <pc:sldChg chg="modSp mod ord">
        <pc:chgData name="Liebhart, Rainer (Nokia - DE/Munich)" userId="9d27e965-bed7-441e-8c07-02c758a9258d" providerId="ADAL" clId="{5E48742D-49CE-40D9-A16D-B54550F67A4D}" dt="2021-11-30T08:49:55.670" v="1505" actId="20577"/>
        <pc:sldMkLst>
          <pc:docMk/>
          <pc:sldMk cId="146406022" sldId="2134805535"/>
        </pc:sldMkLst>
        <pc:spChg chg="mod">
          <ac:chgData name="Liebhart, Rainer (Nokia - DE/Munich)" userId="9d27e965-bed7-441e-8c07-02c758a9258d" providerId="ADAL" clId="{5E48742D-49CE-40D9-A16D-B54550F67A4D}" dt="2021-11-30T08:49:55.670" v="1505" actId="20577"/>
          <ac:spMkLst>
            <pc:docMk/>
            <pc:sldMk cId="146406022" sldId="2134805535"/>
            <ac:spMk id="6" creationId="{2E20DBE3-132B-4E49-9B12-D7A9DE1B1D38}"/>
          </ac:spMkLst>
        </pc:spChg>
        <pc:spChg chg="mod">
          <ac:chgData name="Liebhart, Rainer (Nokia - DE/Munich)" userId="9d27e965-bed7-441e-8c07-02c758a9258d" providerId="ADAL" clId="{5E48742D-49CE-40D9-A16D-B54550F67A4D}" dt="2021-11-30T08:44:01.270" v="1313" actId="6549"/>
          <ac:spMkLst>
            <pc:docMk/>
            <pc:sldMk cId="146406022" sldId="2134805535"/>
            <ac:spMk id="10" creationId="{FB17815A-60B6-42D8-9720-6AE98A1B851D}"/>
          </ac:spMkLst>
        </pc:spChg>
      </pc:sldChg>
      <pc:sldChg chg="modSp del mod">
        <pc:chgData name="Liebhart, Rainer (Nokia - DE/Munich)" userId="9d27e965-bed7-441e-8c07-02c758a9258d" providerId="ADAL" clId="{5E48742D-49CE-40D9-A16D-B54550F67A4D}" dt="2021-11-29T10:05:27.624" v="209" actId="2696"/>
        <pc:sldMkLst>
          <pc:docMk/>
          <pc:sldMk cId="1563884360" sldId="2134805535"/>
        </pc:sldMkLst>
        <pc:spChg chg="mod">
          <ac:chgData name="Liebhart, Rainer (Nokia - DE/Munich)" userId="9d27e965-bed7-441e-8c07-02c758a9258d" providerId="ADAL" clId="{5E48742D-49CE-40D9-A16D-B54550F67A4D}" dt="2021-11-24T12:50:35.329" v="35" actId="113"/>
          <ac:spMkLst>
            <pc:docMk/>
            <pc:sldMk cId="1563884360" sldId="2134805535"/>
            <ac:spMk id="6" creationId="{2E20DBE3-132B-4E49-9B12-D7A9DE1B1D38}"/>
          </ac:spMkLst>
        </pc:spChg>
      </pc:sldChg>
      <pc:sldChg chg="del">
        <pc:chgData name="Liebhart, Rainer (Nokia - DE/Munich)" userId="9d27e965-bed7-441e-8c07-02c758a9258d" providerId="ADAL" clId="{5E48742D-49CE-40D9-A16D-B54550F67A4D}" dt="2021-11-29T10:04:33.283" v="169" actId="47"/>
        <pc:sldMkLst>
          <pc:docMk/>
          <pc:sldMk cId="2850149402" sldId="2134805550"/>
        </pc:sldMkLst>
      </pc:sldChg>
      <pc:sldChg chg="modSp mod">
        <pc:chgData name="Liebhart, Rainer (Nokia - DE/Munich)" userId="9d27e965-bed7-441e-8c07-02c758a9258d" providerId="ADAL" clId="{5E48742D-49CE-40D9-A16D-B54550F67A4D}" dt="2021-11-29T10:18:30.785" v="401" actId="20577"/>
        <pc:sldMkLst>
          <pc:docMk/>
          <pc:sldMk cId="1647295885" sldId="2134805573"/>
        </pc:sldMkLst>
        <pc:spChg chg="mod">
          <ac:chgData name="Liebhart, Rainer (Nokia - DE/Munich)" userId="9d27e965-bed7-441e-8c07-02c758a9258d" providerId="ADAL" clId="{5E48742D-49CE-40D9-A16D-B54550F67A4D}" dt="2021-11-29T10:03:35.097" v="162" actId="6549"/>
          <ac:spMkLst>
            <pc:docMk/>
            <pc:sldMk cId="1647295885" sldId="2134805573"/>
            <ac:spMk id="3" creationId="{733E8E6D-C5E1-4277-9171-E65A00B3E33F}"/>
          </ac:spMkLst>
        </pc:spChg>
        <pc:spChg chg="mod">
          <ac:chgData name="Liebhart, Rainer (Nokia - DE/Munich)" userId="9d27e965-bed7-441e-8c07-02c758a9258d" providerId="ADAL" clId="{5E48742D-49CE-40D9-A16D-B54550F67A4D}" dt="2021-11-29T10:18:30.785" v="401" actId="20577"/>
          <ac:spMkLst>
            <pc:docMk/>
            <pc:sldMk cId="1647295885" sldId="2134805573"/>
            <ac:spMk id="4" creationId="{293E0874-2549-487F-883E-991C524BF351}"/>
          </ac:spMkLst>
        </pc:spChg>
        <pc:spChg chg="mod">
          <ac:chgData name="Liebhart, Rainer (Nokia - DE/Munich)" userId="9d27e965-bed7-441e-8c07-02c758a9258d" providerId="ADAL" clId="{5E48742D-49CE-40D9-A16D-B54550F67A4D}" dt="2021-11-29T10:03:25.740" v="157" actId="20577"/>
          <ac:spMkLst>
            <pc:docMk/>
            <pc:sldMk cId="1647295885" sldId="2134805573"/>
            <ac:spMk id="6" creationId="{2E20DBE3-132B-4E49-9B12-D7A9DE1B1D38}"/>
          </ac:spMkLst>
        </pc:spChg>
      </pc:sldChg>
      <pc:sldChg chg="del">
        <pc:chgData name="Liebhart, Rainer (Nokia - DE/Munich)" userId="9d27e965-bed7-441e-8c07-02c758a9258d" providerId="ADAL" clId="{5E48742D-49CE-40D9-A16D-B54550F67A4D}" dt="2021-11-29T10:03:30.686" v="158" actId="47"/>
        <pc:sldMkLst>
          <pc:docMk/>
          <pc:sldMk cId="80792530" sldId="2134805574"/>
        </pc:sldMkLst>
      </pc:sldChg>
      <pc:sldChg chg="modSp mod modNotesTx">
        <pc:chgData name="Liebhart, Rainer (Nokia - DE/Munich)" userId="9d27e965-bed7-441e-8c07-02c758a9258d" providerId="ADAL" clId="{5E48742D-49CE-40D9-A16D-B54550F67A4D}" dt="2021-11-30T08:42:37.102" v="1285" actId="6549"/>
        <pc:sldMkLst>
          <pc:docMk/>
          <pc:sldMk cId="1912647079" sldId="2134805575"/>
        </pc:sldMkLst>
        <pc:spChg chg="mod">
          <ac:chgData name="Liebhart, Rainer (Nokia - DE/Munich)" userId="9d27e965-bed7-441e-8c07-02c758a9258d" providerId="ADAL" clId="{5E48742D-49CE-40D9-A16D-B54550F67A4D}" dt="2021-11-30T08:36:16.550" v="1092" actId="6549"/>
          <ac:spMkLst>
            <pc:docMk/>
            <pc:sldMk cId="1912647079" sldId="2134805575"/>
            <ac:spMk id="3" creationId="{733E8E6D-C5E1-4277-9171-E65A00B3E33F}"/>
          </ac:spMkLst>
        </pc:spChg>
        <pc:spChg chg="mod">
          <ac:chgData name="Liebhart, Rainer (Nokia - DE/Munich)" userId="9d27e965-bed7-441e-8c07-02c758a9258d" providerId="ADAL" clId="{5E48742D-49CE-40D9-A16D-B54550F67A4D}" dt="2021-11-29T10:18:19.348" v="393" actId="20577"/>
          <ac:spMkLst>
            <pc:docMk/>
            <pc:sldMk cId="1912647079" sldId="2134805575"/>
            <ac:spMk id="4" creationId="{293E0874-2549-487F-883E-991C524BF351}"/>
          </ac:spMkLst>
        </pc:spChg>
        <pc:spChg chg="mod">
          <ac:chgData name="Liebhart, Rainer (Nokia - DE/Munich)" userId="9d27e965-bed7-441e-8c07-02c758a9258d" providerId="ADAL" clId="{5E48742D-49CE-40D9-A16D-B54550F67A4D}" dt="2021-11-30T08:42:37.102" v="1285" actId="6549"/>
          <ac:spMkLst>
            <pc:docMk/>
            <pc:sldMk cId="1912647079" sldId="2134805575"/>
            <ac:spMk id="6" creationId="{2E20DBE3-132B-4E49-9B12-D7A9DE1B1D38}"/>
          </ac:spMkLst>
        </pc:spChg>
      </pc:sldChg>
      <pc:sldChg chg="addSp delSp modSp del mod">
        <pc:chgData name="Liebhart, Rainer (Nokia - DE/Munich)" userId="9d27e965-bed7-441e-8c07-02c758a9258d" providerId="ADAL" clId="{5E48742D-49CE-40D9-A16D-B54550F67A4D}" dt="2021-11-29T17:31:10.290" v="965" actId="47"/>
        <pc:sldMkLst>
          <pc:docMk/>
          <pc:sldMk cId="2405562934" sldId="2134805576"/>
        </pc:sldMkLst>
        <pc:spChg chg="mod">
          <ac:chgData name="Liebhart, Rainer (Nokia - DE/Munich)" userId="9d27e965-bed7-441e-8c07-02c758a9258d" providerId="ADAL" clId="{5E48742D-49CE-40D9-A16D-B54550F67A4D}" dt="2021-11-29T10:06:19.520" v="217" actId="20577"/>
          <ac:spMkLst>
            <pc:docMk/>
            <pc:sldMk cId="2405562934" sldId="2134805576"/>
            <ac:spMk id="2" creationId="{673AE4A4-F521-4B46-BB77-BDFFF6278B02}"/>
          </ac:spMkLst>
        </pc:spChg>
        <pc:spChg chg="add mod">
          <ac:chgData name="Liebhart, Rainer (Nokia - DE/Munich)" userId="9d27e965-bed7-441e-8c07-02c758a9258d" providerId="ADAL" clId="{5E48742D-49CE-40D9-A16D-B54550F67A4D}" dt="2021-11-29T10:06:22.851" v="218" actId="478"/>
          <ac:spMkLst>
            <pc:docMk/>
            <pc:sldMk cId="2405562934" sldId="2134805576"/>
            <ac:spMk id="5" creationId="{D6862121-2D36-405F-9C0B-6239C14DC1A8}"/>
          </ac:spMkLst>
        </pc:spChg>
        <pc:spChg chg="del">
          <ac:chgData name="Liebhart, Rainer (Nokia - DE/Munich)" userId="9d27e965-bed7-441e-8c07-02c758a9258d" providerId="ADAL" clId="{5E48742D-49CE-40D9-A16D-B54550F67A4D}" dt="2021-11-29T10:06:22.851" v="218" actId="478"/>
          <ac:spMkLst>
            <pc:docMk/>
            <pc:sldMk cId="2405562934" sldId="2134805576"/>
            <ac:spMk id="7" creationId="{51855F48-622D-49D1-8300-678891D711F6}"/>
          </ac:spMkLst>
        </pc:spChg>
      </pc:sldChg>
      <pc:sldChg chg="modSp del mod ord">
        <pc:chgData name="Liebhart, Rainer (Nokia - DE/Munich)" userId="9d27e965-bed7-441e-8c07-02c758a9258d" providerId="ADAL" clId="{5E48742D-49CE-40D9-A16D-B54550F67A4D}" dt="2021-11-29T17:32:29.881" v="985" actId="47"/>
        <pc:sldMkLst>
          <pc:docMk/>
          <pc:sldMk cId="2859239966" sldId="2134805577"/>
        </pc:sldMkLst>
        <pc:spChg chg="mod">
          <ac:chgData name="Liebhart, Rainer (Nokia - DE/Munich)" userId="9d27e965-bed7-441e-8c07-02c758a9258d" providerId="ADAL" clId="{5E48742D-49CE-40D9-A16D-B54550F67A4D}" dt="2021-11-29T10:16:56.567" v="384" actId="20577"/>
          <ac:spMkLst>
            <pc:docMk/>
            <pc:sldMk cId="2859239966" sldId="2134805577"/>
            <ac:spMk id="2" creationId="{673AE4A4-F521-4B46-BB77-BDFFF6278B02}"/>
          </ac:spMkLst>
        </pc:spChg>
      </pc:sldChg>
      <pc:sldChg chg="del">
        <pc:chgData name="Liebhart, Rainer (Nokia - DE/Munich)" userId="9d27e965-bed7-441e-8c07-02c758a9258d" providerId="ADAL" clId="{5E48742D-49CE-40D9-A16D-B54550F67A4D}" dt="2021-11-29T17:31:17.346" v="966" actId="47"/>
        <pc:sldMkLst>
          <pc:docMk/>
          <pc:sldMk cId="2661765772" sldId="2134805578"/>
        </pc:sldMkLst>
      </pc:sldChg>
      <pc:sldChg chg="addSp delSp modSp mod">
        <pc:chgData name="Liebhart, Rainer (Nokia - DE/Munich)" userId="9d27e965-bed7-441e-8c07-02c758a9258d" providerId="ADAL" clId="{5E48742D-49CE-40D9-A16D-B54550F67A4D}" dt="2021-11-30T08:50:10.572" v="1506" actId="113"/>
        <pc:sldMkLst>
          <pc:docMk/>
          <pc:sldMk cId="1241796621" sldId="2134805579"/>
        </pc:sldMkLst>
        <pc:spChg chg="del mod">
          <ac:chgData name="Liebhart, Rainer (Nokia - DE/Munich)" userId="9d27e965-bed7-441e-8c07-02c758a9258d" providerId="ADAL" clId="{5E48742D-49CE-40D9-A16D-B54550F67A4D}" dt="2021-11-30T08:43:18.120" v="1292" actId="478"/>
          <ac:spMkLst>
            <pc:docMk/>
            <pc:sldMk cId="1241796621" sldId="2134805579"/>
            <ac:spMk id="3" creationId="{93D73AC0-3E56-4897-9A8C-F6DEF17975F1}"/>
          </ac:spMkLst>
        </pc:spChg>
        <pc:spChg chg="mod">
          <ac:chgData name="Liebhart, Rainer (Nokia - DE/Munich)" userId="9d27e965-bed7-441e-8c07-02c758a9258d" providerId="ADAL" clId="{5E48742D-49CE-40D9-A16D-B54550F67A4D}" dt="2021-11-30T08:50:10.572" v="1506" actId="113"/>
          <ac:spMkLst>
            <pc:docMk/>
            <pc:sldMk cId="1241796621" sldId="2134805579"/>
            <ac:spMk id="6" creationId="{2E20DBE3-132B-4E49-9B12-D7A9DE1B1D38}"/>
          </ac:spMkLst>
        </pc:spChg>
        <pc:spChg chg="mod">
          <ac:chgData name="Liebhart, Rainer (Nokia - DE/Munich)" userId="9d27e965-bed7-441e-8c07-02c758a9258d" providerId="ADAL" clId="{5E48742D-49CE-40D9-A16D-B54550F67A4D}" dt="2021-11-30T08:41:28.134" v="1255" actId="20577"/>
          <ac:spMkLst>
            <pc:docMk/>
            <pc:sldMk cId="1241796621" sldId="2134805579"/>
            <ac:spMk id="10" creationId="{FB17815A-60B6-42D8-9720-6AE98A1B851D}"/>
          </ac:spMkLst>
        </pc:spChg>
        <pc:spChg chg="mod">
          <ac:chgData name="Liebhart, Rainer (Nokia - DE/Munich)" userId="9d27e965-bed7-441e-8c07-02c758a9258d" providerId="ADAL" clId="{5E48742D-49CE-40D9-A16D-B54550F67A4D}" dt="2021-11-30T08:41:39.785" v="1261" actId="1036"/>
          <ac:spMkLst>
            <pc:docMk/>
            <pc:sldMk cId="1241796621" sldId="2134805579"/>
            <ac:spMk id="11" creationId="{4530E830-5FE1-4CA0-8A0E-B78352611AD4}"/>
          </ac:spMkLst>
        </pc:spChg>
        <pc:picChg chg="add del mod">
          <ac:chgData name="Liebhart, Rainer (Nokia - DE/Munich)" userId="9d27e965-bed7-441e-8c07-02c758a9258d" providerId="ADAL" clId="{5E48742D-49CE-40D9-A16D-B54550F67A4D}" dt="2021-11-29T17:24:30.784" v="886" actId="478"/>
          <ac:picMkLst>
            <pc:docMk/>
            <pc:sldMk cId="1241796621" sldId="2134805579"/>
            <ac:picMk id="5" creationId="{BBFC5A63-44D6-40C3-BFE2-9B42BE4E3DAC}"/>
          </ac:picMkLst>
        </pc:picChg>
      </pc:sldChg>
      <pc:sldChg chg="addSp delSp modSp add mod">
        <pc:chgData name="Liebhart, Rainer (Nokia - DE/Munich)" userId="9d27e965-bed7-441e-8c07-02c758a9258d" providerId="ADAL" clId="{5E48742D-49CE-40D9-A16D-B54550F67A4D}" dt="2021-11-30T08:58:59.753" v="1521" actId="478"/>
        <pc:sldMkLst>
          <pc:docMk/>
          <pc:sldMk cId="1331716574" sldId="2134805580"/>
        </pc:sldMkLst>
        <pc:spChg chg="del">
          <ac:chgData name="Liebhart, Rainer (Nokia - DE/Munich)" userId="9d27e965-bed7-441e-8c07-02c758a9258d" providerId="ADAL" clId="{5E48742D-49CE-40D9-A16D-B54550F67A4D}" dt="2021-11-30T08:58:59.753" v="1521" actId="478"/>
          <ac:spMkLst>
            <pc:docMk/>
            <pc:sldMk cId="1331716574" sldId="2134805580"/>
            <ac:spMk id="3" creationId="{93D73AC0-3E56-4897-9A8C-F6DEF17975F1}"/>
          </ac:spMkLst>
        </pc:spChg>
        <pc:spChg chg="mod">
          <ac:chgData name="Liebhart, Rainer (Nokia - DE/Munich)" userId="9d27e965-bed7-441e-8c07-02c758a9258d" providerId="ADAL" clId="{5E48742D-49CE-40D9-A16D-B54550F67A4D}" dt="2021-11-30T08:58:53.098" v="1520" actId="113"/>
          <ac:spMkLst>
            <pc:docMk/>
            <pc:sldMk cId="1331716574" sldId="2134805580"/>
            <ac:spMk id="6" creationId="{2E20DBE3-132B-4E49-9B12-D7A9DE1B1D38}"/>
          </ac:spMkLst>
        </pc:spChg>
        <pc:spChg chg="mod">
          <ac:chgData name="Liebhart, Rainer (Nokia - DE/Munich)" userId="9d27e965-bed7-441e-8c07-02c758a9258d" providerId="ADAL" clId="{5E48742D-49CE-40D9-A16D-B54550F67A4D}" dt="2021-11-30T08:47:44.235" v="1472" actId="6549"/>
          <ac:spMkLst>
            <pc:docMk/>
            <pc:sldMk cId="1331716574" sldId="2134805580"/>
            <ac:spMk id="10" creationId="{FB17815A-60B6-42D8-9720-6AE98A1B851D}"/>
          </ac:spMkLst>
        </pc:spChg>
        <pc:graphicFrameChg chg="add del mod">
          <ac:chgData name="Liebhart, Rainer (Nokia - DE/Munich)" userId="9d27e965-bed7-441e-8c07-02c758a9258d" providerId="ADAL" clId="{5E48742D-49CE-40D9-A16D-B54550F67A4D}" dt="2021-11-29T10:21:22.210" v="503"/>
          <ac:graphicFrameMkLst>
            <pc:docMk/>
            <pc:sldMk cId="1331716574" sldId="2134805580"/>
            <ac:graphicFrameMk id="4" creationId="{95F2CE3B-3DB6-4540-9D9C-8F0884E260EE}"/>
          </ac:graphicFrameMkLst>
        </pc:graphicFrameChg>
      </pc:sldChg>
      <pc:sldChg chg="modSp mod">
        <pc:chgData name="Liebhart, Rainer (Nokia - DE/Munich)" userId="9d27e965-bed7-441e-8c07-02c758a9258d" providerId="ADAL" clId="{5E48742D-49CE-40D9-A16D-B54550F67A4D}" dt="2021-11-29T17:28:58.525" v="903" actId="1076"/>
        <pc:sldMkLst>
          <pc:docMk/>
          <pc:sldMk cId="3007859491" sldId="2134805595"/>
        </pc:sldMkLst>
        <pc:graphicFrameChg chg="mod">
          <ac:chgData name="Liebhart, Rainer (Nokia - DE/Munich)" userId="9d27e965-bed7-441e-8c07-02c758a9258d" providerId="ADAL" clId="{5E48742D-49CE-40D9-A16D-B54550F67A4D}" dt="2021-11-29T17:28:58.525" v="903" actId="1076"/>
          <ac:graphicFrameMkLst>
            <pc:docMk/>
            <pc:sldMk cId="3007859491" sldId="2134805595"/>
            <ac:graphicFrameMk id="5" creationId="{147F1A6A-0E16-4C84-8E82-5039900CDD75}"/>
          </ac:graphicFrameMkLst>
        </pc:graphicFrameChg>
      </pc:sldChg>
    </pc:docChg>
  </pc:docChgLst>
  <pc:docChgLst>
    <pc:chgData name="Singh, Shubhranshu (Nokia - DE/Munich)" userId="097f1207-65ae-4ec2-ab78-00d0c1d73a58" providerId="ADAL" clId="{51444D6C-23D1-4471-B15F-B21FE4AA257B}"/>
    <pc:docChg chg="custSel modSld">
      <pc:chgData name="Singh, Shubhranshu (Nokia - DE/Munich)" userId="097f1207-65ae-4ec2-ab78-00d0c1d73a58" providerId="ADAL" clId="{51444D6C-23D1-4471-B15F-B21FE4AA257B}" dt="2021-11-29T18:04:41.371" v="8" actId="27636"/>
      <pc:docMkLst>
        <pc:docMk/>
      </pc:docMkLst>
      <pc:sldChg chg="modSp mod">
        <pc:chgData name="Singh, Shubhranshu (Nokia - DE/Munich)" userId="097f1207-65ae-4ec2-ab78-00d0c1d73a58" providerId="ADAL" clId="{51444D6C-23D1-4471-B15F-B21FE4AA257B}" dt="2021-11-29T18:04:41.371" v="8" actId="27636"/>
        <pc:sldMkLst>
          <pc:docMk/>
          <pc:sldMk cId="4008632245" sldId="2134805565"/>
        </pc:sldMkLst>
        <pc:spChg chg="mod">
          <ac:chgData name="Singh, Shubhranshu (Nokia - DE/Munich)" userId="097f1207-65ae-4ec2-ab78-00d0c1d73a58" providerId="ADAL" clId="{51444D6C-23D1-4471-B15F-B21FE4AA257B}" dt="2021-11-29T18:04:41.371" v="8" actId="27636"/>
          <ac:spMkLst>
            <pc:docMk/>
            <pc:sldMk cId="4008632245" sldId="2134805565"/>
            <ac:spMk id="4" creationId="{CD72C33D-DF40-4601-AF02-8DFD5A6EA958}"/>
          </ac:spMkLst>
        </pc:spChg>
      </pc:sldChg>
    </pc:docChg>
  </pc:docChgLst>
  <pc:docChgLst>
    <pc:chgData name="Belling, Thomas (Nokia - DE/Munich)" userId="S::thomas.belling@nokia.com::38e53bf5-7a59-41ec-8bf1-bf611b810166" providerId="AD" clId="Web-{88A24974-E176-1B45-DC36-61C0970CF939}"/>
    <pc:docChg chg="addSld">
      <pc:chgData name="Belling, Thomas (Nokia - DE/Munich)" userId="S::thomas.belling@nokia.com::38e53bf5-7a59-41ec-8bf1-bf611b810166" providerId="AD" clId="Web-{88A24974-E176-1B45-DC36-61C0970CF939}" dt="2020-03-05T19:33:15.261" v="0"/>
      <pc:docMkLst>
        <pc:docMk/>
      </pc:docMkLst>
    </pc:docChg>
  </pc:docChgLst>
  <pc:docChgLst>
    <pc:chgData name="Thiebaut, Laurent (Nokia - FR/Paris-Saclay)" userId="S::laurent.thiebaut@nokia.com::5a0f83ef-4330-4e17-8828-eca8fc03b257" providerId="AD" clId="Web-{19344938-1F19-A1A6-5FF5-51AF7E37253B}"/>
    <pc:docChg chg="addSld modSld sldOrd">
      <pc:chgData name="Thiebaut, Laurent (Nokia - FR/Paris-Saclay)" userId="S::laurent.thiebaut@nokia.com::5a0f83ef-4330-4e17-8828-eca8fc03b257" providerId="AD" clId="Web-{19344938-1F19-A1A6-5FF5-51AF7E37253B}" dt="2021-10-26T18:45:39.872" v="372" actId="20577"/>
      <pc:docMkLst>
        <pc:docMk/>
      </pc:docMkLst>
      <pc:sldChg chg="modSp">
        <pc:chgData name="Thiebaut, Laurent (Nokia - FR/Paris-Saclay)" userId="S::laurent.thiebaut@nokia.com::5a0f83ef-4330-4e17-8828-eca8fc03b257" providerId="AD" clId="Web-{19344938-1F19-A1A6-5FF5-51AF7E37253B}" dt="2021-10-26T18:16:18.466" v="0" actId="20577"/>
        <pc:sldMkLst>
          <pc:docMk/>
          <pc:sldMk cId="3870285730" sldId="319"/>
        </pc:sldMkLst>
        <pc:spChg chg="mod">
          <ac:chgData name="Thiebaut, Laurent (Nokia - FR/Paris-Saclay)" userId="S::laurent.thiebaut@nokia.com::5a0f83ef-4330-4e17-8828-eca8fc03b257" providerId="AD" clId="Web-{19344938-1F19-A1A6-5FF5-51AF7E37253B}" dt="2021-10-26T18:16:18.466" v="0" actId="20577"/>
          <ac:spMkLst>
            <pc:docMk/>
            <pc:sldMk cId="3870285730" sldId="319"/>
            <ac:spMk id="4" creationId="{B91515A7-343D-47E8-82B8-D58ED83CD3B1}"/>
          </ac:spMkLst>
        </pc:spChg>
      </pc:sldChg>
      <pc:sldChg chg="modSp">
        <pc:chgData name="Thiebaut, Laurent (Nokia - FR/Paris-Saclay)" userId="S::laurent.thiebaut@nokia.com::5a0f83ef-4330-4e17-8828-eca8fc03b257" providerId="AD" clId="Web-{19344938-1F19-A1A6-5FF5-51AF7E37253B}" dt="2021-10-26T18:45:39.872" v="372" actId="20577"/>
        <pc:sldMkLst>
          <pc:docMk/>
          <pc:sldMk cId="2692745318" sldId="322"/>
        </pc:sldMkLst>
        <pc:spChg chg="mod">
          <ac:chgData name="Thiebaut, Laurent (Nokia - FR/Paris-Saclay)" userId="S::laurent.thiebaut@nokia.com::5a0f83ef-4330-4e17-8828-eca8fc03b257" providerId="AD" clId="Web-{19344938-1F19-A1A6-5FF5-51AF7E37253B}" dt="2021-10-26T18:40:44.974" v="173" actId="20577"/>
          <ac:spMkLst>
            <pc:docMk/>
            <pc:sldMk cId="2692745318" sldId="322"/>
            <ac:spMk id="3" creationId="{5B84A4F0-57DA-4FC9-AEAC-815E3FF90221}"/>
          </ac:spMkLst>
        </pc:spChg>
        <pc:spChg chg="mod">
          <ac:chgData name="Thiebaut, Laurent (Nokia - FR/Paris-Saclay)" userId="S::laurent.thiebaut@nokia.com::5a0f83ef-4330-4e17-8828-eca8fc03b257" providerId="AD" clId="Web-{19344938-1F19-A1A6-5FF5-51AF7E37253B}" dt="2021-10-26T18:45:39.872" v="372" actId="20577"/>
          <ac:spMkLst>
            <pc:docMk/>
            <pc:sldMk cId="2692745318" sldId="322"/>
            <ac:spMk id="5" creationId="{A560F786-3A6C-41F0-99EF-DFF4DE7F777C}"/>
          </ac:spMkLst>
        </pc:spChg>
      </pc:sldChg>
      <pc:sldChg chg="modSp add ord replId">
        <pc:chgData name="Thiebaut, Laurent (Nokia - FR/Paris-Saclay)" userId="S::laurent.thiebaut@nokia.com::5a0f83ef-4330-4e17-8828-eca8fc03b257" providerId="AD" clId="Web-{19344938-1F19-A1A6-5FF5-51AF7E37253B}" dt="2021-10-26T18:40:32.942" v="168"/>
        <pc:sldMkLst>
          <pc:docMk/>
          <pc:sldMk cId="1150269751" sldId="2134805525"/>
        </pc:sldMkLst>
        <pc:spChg chg="mod">
          <ac:chgData name="Thiebaut, Laurent (Nokia - FR/Paris-Saclay)" userId="S::laurent.thiebaut@nokia.com::5a0f83ef-4330-4e17-8828-eca8fc03b257" providerId="AD" clId="Web-{19344938-1F19-A1A6-5FF5-51AF7E37253B}" dt="2021-10-26T18:40:32.114" v="167" actId="20577"/>
          <ac:spMkLst>
            <pc:docMk/>
            <pc:sldMk cId="1150269751" sldId="2134805525"/>
            <ac:spMk id="5" creationId="{A560F786-3A6C-41F0-99EF-DFF4DE7F777C}"/>
          </ac:spMkLst>
        </pc:spChg>
      </pc:sldChg>
    </pc:docChg>
  </pc:docChgLst>
  <pc:docChgLst>
    <pc:chgData name="Mannweiler, Christian (Nokia - DE/Munich)" userId="S::christian.mannweiler@nokia-bell-labs.com::8a0212c3-ce86-479c-8992-cb7757b79a2d" providerId="AD" clId="Web-{979CE162-30C5-6184-9F89-89FBCBF423C9}"/>
    <pc:docChg chg="modSld">
      <pc:chgData name="Mannweiler, Christian (Nokia - DE/Munich)" userId="S::christian.mannweiler@nokia-bell-labs.com::8a0212c3-ce86-479c-8992-cb7757b79a2d" providerId="AD" clId="Web-{979CE162-30C5-6184-9F89-89FBCBF423C9}" dt="2021-12-01T15:33:30.736" v="2" actId="20577"/>
      <pc:docMkLst>
        <pc:docMk/>
      </pc:docMkLst>
      <pc:sldChg chg="modSp">
        <pc:chgData name="Mannweiler, Christian (Nokia - DE/Munich)" userId="S::christian.mannweiler@nokia-bell-labs.com::8a0212c3-ce86-479c-8992-cb7757b79a2d" providerId="AD" clId="Web-{979CE162-30C5-6184-9F89-89FBCBF423C9}" dt="2021-12-01T15:33:30.736" v="2" actId="20577"/>
        <pc:sldMkLst>
          <pc:docMk/>
          <pc:sldMk cId="2313765211" sldId="2134805567"/>
        </pc:sldMkLst>
        <pc:spChg chg="mod">
          <ac:chgData name="Mannweiler, Christian (Nokia - DE/Munich)" userId="S::christian.mannweiler@nokia-bell-labs.com::8a0212c3-ce86-479c-8992-cb7757b79a2d" providerId="AD" clId="Web-{979CE162-30C5-6184-9F89-89FBCBF423C9}" dt="2021-12-01T15:33:30.736" v="2" actId="20577"/>
          <ac:spMkLst>
            <pc:docMk/>
            <pc:sldMk cId="2313765211" sldId="2134805567"/>
            <ac:spMk id="4" creationId="{CD72C33D-DF40-4601-AF02-8DFD5A6EA958}"/>
          </ac:spMkLst>
        </pc:spChg>
      </pc:sldChg>
    </pc:docChg>
  </pc:docChgLst>
  <pc:docChgLst>
    <pc:chgData name="Markus Isomäki" userId="e09dec62-93e3-4c70-8b77-3ffff629182a" providerId="ADAL" clId="{CDBB3810-4A77-456B-B61E-97BE10FBB34A}"/>
    <pc:docChg chg="undo custSel addSld modSld">
      <pc:chgData name="Markus Isomäki" userId="e09dec62-93e3-4c70-8b77-3ffff629182a" providerId="ADAL" clId="{CDBB3810-4A77-456B-B61E-97BE10FBB34A}" dt="2022-06-10T12:15:52.807" v="1235" actId="20577"/>
      <pc:docMkLst>
        <pc:docMk/>
      </pc:docMkLst>
      <pc:sldChg chg="modSp mod">
        <pc:chgData name="Markus Isomäki" userId="e09dec62-93e3-4c70-8b77-3ffff629182a" providerId="ADAL" clId="{CDBB3810-4A77-456B-B61E-97BE10FBB34A}" dt="2022-06-10T12:15:52.807" v="1235" actId="20577"/>
        <pc:sldMkLst>
          <pc:docMk/>
          <pc:sldMk cId="2165169509" sldId="258"/>
        </pc:sldMkLst>
        <pc:spChg chg="mod">
          <ac:chgData name="Markus Isomäki" userId="e09dec62-93e3-4c70-8b77-3ffff629182a" providerId="ADAL" clId="{CDBB3810-4A77-456B-B61E-97BE10FBB34A}" dt="2022-06-10T12:15:52.807" v="1235" actId="20577"/>
          <ac:spMkLst>
            <pc:docMk/>
            <pc:sldMk cId="2165169509" sldId="258"/>
            <ac:spMk id="3" creationId="{A4E748F3-52F3-4227-86AD-9C50826A6263}"/>
          </ac:spMkLst>
        </pc:spChg>
      </pc:sldChg>
      <pc:sldChg chg="modSp mod">
        <pc:chgData name="Markus Isomäki" userId="e09dec62-93e3-4c70-8b77-3ffff629182a" providerId="ADAL" clId="{CDBB3810-4A77-456B-B61E-97BE10FBB34A}" dt="2022-06-10T11:53:20.205" v="572" actId="1076"/>
        <pc:sldMkLst>
          <pc:docMk/>
          <pc:sldMk cId="60323065" sldId="2146846882"/>
        </pc:sldMkLst>
        <pc:spChg chg="mod">
          <ac:chgData name="Markus Isomäki" userId="e09dec62-93e3-4c70-8b77-3ffff629182a" providerId="ADAL" clId="{CDBB3810-4A77-456B-B61E-97BE10FBB34A}" dt="2022-06-10T11:53:20.205" v="572" actId="1076"/>
          <ac:spMkLst>
            <pc:docMk/>
            <pc:sldMk cId="60323065" sldId="2146846882"/>
            <ac:spMk id="4" creationId="{FD9B9349-5219-4A4E-8125-7E6F849D4C07}"/>
          </ac:spMkLst>
        </pc:spChg>
      </pc:sldChg>
      <pc:sldChg chg="addSp delSp modSp add mod">
        <pc:chgData name="Markus Isomäki" userId="e09dec62-93e3-4c70-8b77-3ffff629182a" providerId="ADAL" clId="{CDBB3810-4A77-456B-B61E-97BE10FBB34A}" dt="2022-06-10T12:15:09.256" v="1219" actId="20577"/>
        <pc:sldMkLst>
          <pc:docMk/>
          <pc:sldMk cId="1725738849" sldId="2146846883"/>
        </pc:sldMkLst>
        <pc:spChg chg="mod">
          <ac:chgData name="Markus Isomäki" userId="e09dec62-93e3-4c70-8b77-3ffff629182a" providerId="ADAL" clId="{CDBB3810-4A77-456B-B61E-97BE10FBB34A}" dt="2022-06-10T12:15:09.256" v="1219" actId="20577"/>
          <ac:spMkLst>
            <pc:docMk/>
            <pc:sldMk cId="1725738849" sldId="2146846883"/>
            <ac:spMk id="4" creationId="{FD9B9349-5219-4A4E-8125-7E6F849D4C07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5" creationId="{CF7E2F74-56A3-410A-A332-D98346A60A18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6" creationId="{F46AE0CC-D41E-40F7-9CFB-184DCF2C62FE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7" creationId="{709324D6-02FA-496D-B2E3-1B5F53AAE855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8" creationId="{F6625EE8-71EF-4184-A9E4-46E7FFA1EC41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9" creationId="{9999C1FE-BADC-4EDF-9CAB-77D4C7BDA974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10" creationId="{09776CA1-6683-4A5B-A445-46280C6369FC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11" creationId="{E7AE5440-09CA-4D15-A199-082A59942136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12" creationId="{D387C34A-846F-4BED-B8AD-93C6E44EE63C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13" creationId="{CC1556CB-8F1E-4E3D-8755-15FB4574D9CA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14" creationId="{2EECBE65-053B-4802-992E-163418D09EDB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15" creationId="{A09A0551-8D41-42BF-935E-F58CE605DD52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16" creationId="{2F8BC161-16D1-4E64-BD50-306CF4334701}"/>
          </ac:spMkLst>
        </pc:spChg>
        <pc:spChg chg="add del mod">
          <ac:chgData name="Markus Isomäki" userId="e09dec62-93e3-4c70-8b77-3ffff629182a" providerId="ADAL" clId="{CDBB3810-4A77-456B-B61E-97BE10FBB34A}" dt="2022-06-10T12:10:26.412" v="1169" actId="478"/>
          <ac:spMkLst>
            <pc:docMk/>
            <pc:sldMk cId="1725738849" sldId="2146846883"/>
            <ac:spMk id="17" creationId="{F90965BB-23C2-464C-B63A-1D4F1F324570}"/>
          </ac:spMkLst>
        </pc:spChg>
        <pc:spChg chg="add del mod">
          <ac:chgData name="Markus Isomäki" userId="e09dec62-93e3-4c70-8b77-3ffff629182a" providerId="ADAL" clId="{CDBB3810-4A77-456B-B61E-97BE10FBB34A}" dt="2022-06-10T12:09:44.159" v="1159" actId="478"/>
          <ac:spMkLst>
            <pc:docMk/>
            <pc:sldMk cId="1725738849" sldId="2146846883"/>
            <ac:spMk id="18" creationId="{6338B3BF-BA61-4DA9-B8F1-05BC8B310A9C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19" creationId="{87F1A761-89F6-4E3C-BDD4-BDDACF825521}"/>
          </ac:spMkLst>
        </pc:spChg>
        <pc:spChg chg="add mod">
          <ac:chgData name="Markus Isomäki" userId="e09dec62-93e3-4c70-8b77-3ffff629182a" providerId="ADAL" clId="{CDBB3810-4A77-456B-B61E-97BE10FBB34A}" dt="2022-06-10T12:13:13.130" v="1196" actId="790"/>
          <ac:spMkLst>
            <pc:docMk/>
            <pc:sldMk cId="1725738849" sldId="2146846883"/>
            <ac:spMk id="20" creationId="{040FDECB-316A-45AA-B519-7C3A605004FB}"/>
          </ac:spMkLst>
        </pc:spChg>
      </pc:sldChg>
    </pc:docChg>
  </pc:docChgLst>
  <pc:docChgLst>
    <pc:chgData name="Giust, Fabio (Nokia - DE/Munich)" userId="S::fabio.giust@nokia-bell-labs.com::4032e17e-121c-4a4e-b875-df2f68eb573c" providerId="AD" clId="Web-{77F84537-02DA-F4B2-452D-874B4E73A056}"/>
    <pc:docChg chg="modSld">
      <pc:chgData name="Giust, Fabio (Nokia - DE/Munich)" userId="S::fabio.giust@nokia-bell-labs.com::4032e17e-121c-4a4e-b875-df2f68eb573c" providerId="AD" clId="Web-{77F84537-02DA-F4B2-452D-874B4E73A056}" dt="2022-06-09T07:35:14.217" v="28" actId="20577"/>
      <pc:docMkLst>
        <pc:docMk/>
      </pc:docMkLst>
      <pc:sldChg chg="modSp">
        <pc:chgData name="Giust, Fabio (Nokia - DE/Munich)" userId="S::fabio.giust@nokia-bell-labs.com::4032e17e-121c-4a4e-b875-df2f68eb573c" providerId="AD" clId="Web-{77F84537-02DA-F4B2-452D-874B4E73A056}" dt="2022-06-09T07:35:14.217" v="28" actId="20577"/>
        <pc:sldMkLst>
          <pc:docMk/>
          <pc:sldMk cId="476435417" sldId="2146846798"/>
        </pc:sldMkLst>
        <pc:spChg chg="mod">
          <ac:chgData name="Giust, Fabio (Nokia - DE/Munich)" userId="S::fabio.giust@nokia-bell-labs.com::4032e17e-121c-4a4e-b875-df2f68eb573c" providerId="AD" clId="Web-{77F84537-02DA-F4B2-452D-874B4E73A056}" dt="2022-06-09T07:35:14.217" v="28" actId="20577"/>
          <ac:spMkLst>
            <pc:docMk/>
            <pc:sldMk cId="476435417" sldId="2146846798"/>
            <ac:spMk id="4" creationId="{FC0D3EA9-8686-465E-AF3E-02775AA807DF}"/>
          </ac:spMkLst>
        </pc:spChg>
      </pc:sldChg>
    </pc:docChg>
  </pc:docChgLst>
  <pc:docChgLst>
    <pc:chgData name="Belling, Thomas (Nokia - DE/Munich)" userId="38e53bf5-7a59-41ec-8bf1-bf611b810166" providerId="ADAL" clId="{FC26F2D7-252C-44A9-9B43-0229726F65FA}"/>
    <pc:docChg chg="undo redo custSel addSld delSld modSld sldOrd">
      <pc:chgData name="Belling, Thomas (Nokia - DE/Munich)" userId="38e53bf5-7a59-41ec-8bf1-bf611b810166" providerId="ADAL" clId="{FC26F2D7-252C-44A9-9B43-0229726F65FA}" dt="2021-11-29T14:17:26.487" v="100" actId="14734"/>
      <pc:docMkLst>
        <pc:docMk/>
      </pc:docMkLst>
      <pc:sldChg chg="ord">
        <pc:chgData name="Belling, Thomas (Nokia - DE/Munich)" userId="38e53bf5-7a59-41ec-8bf1-bf611b810166" providerId="ADAL" clId="{FC26F2D7-252C-44A9-9B43-0229726F65FA}" dt="2021-11-26T08:59:11.295" v="53"/>
        <pc:sldMkLst>
          <pc:docMk/>
          <pc:sldMk cId="1206555552" sldId="342"/>
        </pc:sldMkLst>
      </pc:sldChg>
      <pc:sldChg chg="del">
        <pc:chgData name="Belling, Thomas (Nokia - DE/Munich)" userId="38e53bf5-7a59-41ec-8bf1-bf611b810166" providerId="ADAL" clId="{FC26F2D7-252C-44A9-9B43-0229726F65FA}" dt="2021-11-23T21:36:33.856" v="3" actId="47"/>
        <pc:sldMkLst>
          <pc:docMk/>
          <pc:sldMk cId="2610400139" sldId="2134805517"/>
        </pc:sldMkLst>
      </pc:sldChg>
      <pc:sldChg chg="del">
        <pc:chgData name="Belling, Thomas (Nokia - DE/Munich)" userId="38e53bf5-7a59-41ec-8bf1-bf611b810166" providerId="ADAL" clId="{FC26F2D7-252C-44A9-9B43-0229726F65FA}" dt="2021-11-23T21:36:33.856" v="3" actId="47"/>
        <pc:sldMkLst>
          <pc:docMk/>
          <pc:sldMk cId="3349373256" sldId="2134805518"/>
        </pc:sldMkLst>
      </pc:sldChg>
      <pc:sldChg chg="modSp del mod">
        <pc:chgData name="Belling, Thomas (Nokia - DE/Munich)" userId="38e53bf5-7a59-41ec-8bf1-bf611b810166" providerId="ADAL" clId="{FC26F2D7-252C-44A9-9B43-0229726F65FA}" dt="2021-11-26T11:47:18.749" v="64" actId="403"/>
        <pc:sldMkLst>
          <pc:docMk/>
          <pc:sldMk cId="1404853264" sldId="2134805519"/>
        </pc:sldMkLst>
        <pc:spChg chg="mod">
          <ac:chgData name="Belling, Thomas (Nokia - DE/Munich)" userId="38e53bf5-7a59-41ec-8bf1-bf611b810166" providerId="ADAL" clId="{FC26F2D7-252C-44A9-9B43-0229726F65FA}" dt="2021-11-26T11:47:18.749" v="64" actId="403"/>
          <ac:spMkLst>
            <pc:docMk/>
            <pc:sldMk cId="1404853264" sldId="2134805519"/>
            <ac:spMk id="4" creationId="{F46F5340-F269-4BBA-AE17-43A4BB488557}"/>
          </ac:spMkLst>
        </pc:spChg>
      </pc:sldChg>
      <pc:sldChg chg="modSp del mod">
        <pc:chgData name="Belling, Thomas (Nokia - DE/Munich)" userId="38e53bf5-7a59-41ec-8bf1-bf611b810166" providerId="ADAL" clId="{FC26F2D7-252C-44A9-9B43-0229726F65FA}" dt="2021-11-26T11:47:42.999" v="65" actId="404"/>
        <pc:sldMkLst>
          <pc:docMk/>
          <pc:sldMk cId="89401431" sldId="2134805521"/>
        </pc:sldMkLst>
        <pc:spChg chg="mod">
          <ac:chgData name="Belling, Thomas (Nokia - DE/Munich)" userId="38e53bf5-7a59-41ec-8bf1-bf611b810166" providerId="ADAL" clId="{FC26F2D7-252C-44A9-9B43-0229726F65FA}" dt="2021-11-26T11:47:42.999" v="65" actId="404"/>
          <ac:spMkLst>
            <pc:docMk/>
            <pc:sldMk cId="89401431" sldId="2134805521"/>
            <ac:spMk id="4" creationId="{F46F5340-F269-4BBA-AE17-43A4BB488557}"/>
          </ac:spMkLst>
        </pc:spChg>
      </pc:sldChg>
      <pc:sldChg chg="del">
        <pc:chgData name="Belling, Thomas (Nokia - DE/Munich)" userId="38e53bf5-7a59-41ec-8bf1-bf611b810166" providerId="ADAL" clId="{FC26F2D7-252C-44A9-9B43-0229726F65FA}" dt="2021-11-23T21:36:33.856" v="3" actId="47"/>
        <pc:sldMkLst>
          <pc:docMk/>
          <pc:sldMk cId="1398989511" sldId="2134805522"/>
        </pc:sldMkLst>
      </pc:sldChg>
      <pc:sldChg chg="modSp add del mod">
        <pc:chgData name="Belling, Thomas (Nokia - DE/Munich)" userId="38e53bf5-7a59-41ec-8bf1-bf611b810166" providerId="ADAL" clId="{FC26F2D7-252C-44A9-9B43-0229726F65FA}" dt="2021-11-26T11:47:01.934" v="59" actId="403"/>
        <pc:sldMkLst>
          <pc:docMk/>
          <pc:sldMk cId="3969497966" sldId="2134805539"/>
        </pc:sldMkLst>
        <pc:spChg chg="mod">
          <ac:chgData name="Belling, Thomas (Nokia - DE/Munich)" userId="38e53bf5-7a59-41ec-8bf1-bf611b810166" providerId="ADAL" clId="{FC26F2D7-252C-44A9-9B43-0229726F65FA}" dt="2021-11-26T11:47:01.934" v="59" actId="403"/>
          <ac:spMkLst>
            <pc:docMk/>
            <pc:sldMk cId="3969497966" sldId="2134805539"/>
            <ac:spMk id="4" creationId="{F46F5340-F269-4BBA-AE17-43A4BB488557}"/>
          </ac:spMkLst>
        </pc:spChg>
      </pc:sldChg>
      <pc:sldChg chg="addSp modSp del mod">
        <pc:chgData name="Belling, Thomas (Nokia - DE/Munich)" userId="38e53bf5-7a59-41ec-8bf1-bf611b810166" providerId="ADAL" clId="{FC26F2D7-252C-44A9-9B43-0229726F65FA}" dt="2021-11-29T14:15:42.298" v="92" actId="14734"/>
        <pc:sldMkLst>
          <pc:docMk/>
          <pc:sldMk cId="3431728892" sldId="2134805540"/>
        </pc:sldMkLst>
        <pc:spChg chg="mod">
          <ac:chgData name="Belling, Thomas (Nokia - DE/Munich)" userId="38e53bf5-7a59-41ec-8bf1-bf611b810166" providerId="ADAL" clId="{FC26F2D7-252C-44A9-9B43-0229726F65FA}" dt="2021-11-29T13:42:43.382" v="79" actId="20577"/>
          <ac:spMkLst>
            <pc:docMk/>
            <pc:sldMk cId="3431728892" sldId="2134805540"/>
            <ac:spMk id="2" creationId="{F55F6DD9-9F73-4475-B4C0-0BD35C69E49D}"/>
          </ac:spMkLst>
        </pc:spChg>
        <pc:spChg chg="mod">
          <ac:chgData name="Belling, Thomas (Nokia - DE/Munich)" userId="38e53bf5-7a59-41ec-8bf1-bf611b810166" providerId="ADAL" clId="{FC26F2D7-252C-44A9-9B43-0229726F65FA}" dt="2021-11-29T13:44:03.460" v="82" actId="404"/>
          <ac:spMkLst>
            <pc:docMk/>
            <pc:sldMk cId="3431728892" sldId="2134805540"/>
            <ac:spMk id="4" creationId="{CD72C33D-DF40-4601-AF02-8DFD5A6EA958}"/>
          </ac:spMkLst>
        </pc:spChg>
        <pc:graphicFrameChg chg="add mod modGraphic">
          <ac:chgData name="Belling, Thomas (Nokia - DE/Munich)" userId="38e53bf5-7a59-41ec-8bf1-bf611b810166" providerId="ADAL" clId="{FC26F2D7-252C-44A9-9B43-0229726F65FA}" dt="2021-11-29T14:15:42.298" v="92" actId="14734"/>
          <ac:graphicFrameMkLst>
            <pc:docMk/>
            <pc:sldMk cId="3431728892" sldId="2134805540"/>
            <ac:graphicFrameMk id="5" creationId="{D9C4AFD9-F422-451B-B15F-56162BAD3D09}"/>
          </ac:graphicFrameMkLst>
        </pc:graphicFrameChg>
      </pc:sldChg>
      <pc:sldChg chg="add del">
        <pc:chgData name="Belling, Thomas (Nokia - DE/Munich)" userId="38e53bf5-7a59-41ec-8bf1-bf611b810166" providerId="ADAL" clId="{FC26F2D7-252C-44A9-9B43-0229726F65FA}" dt="2021-11-26T11:46:35.560" v="55" actId="47"/>
        <pc:sldMkLst>
          <pc:docMk/>
          <pc:sldMk cId="2040881480" sldId="2134805541"/>
        </pc:sldMkLst>
      </pc:sldChg>
      <pc:sldChg chg="modSp add del mod">
        <pc:chgData name="Belling, Thomas (Nokia - DE/Munich)" userId="38e53bf5-7a59-41ec-8bf1-bf611b810166" providerId="ADAL" clId="{FC26F2D7-252C-44A9-9B43-0229726F65FA}" dt="2021-11-26T11:46:45.023" v="57" actId="27636"/>
        <pc:sldMkLst>
          <pc:docMk/>
          <pc:sldMk cId="1736545944" sldId="2134805542"/>
        </pc:sldMkLst>
        <pc:spChg chg="mod">
          <ac:chgData name="Belling, Thomas (Nokia - DE/Munich)" userId="38e53bf5-7a59-41ec-8bf1-bf611b810166" providerId="ADAL" clId="{FC26F2D7-252C-44A9-9B43-0229726F65FA}" dt="2021-11-26T11:46:45.023" v="57" actId="27636"/>
          <ac:spMkLst>
            <pc:docMk/>
            <pc:sldMk cId="1736545944" sldId="2134805542"/>
            <ac:spMk id="4" creationId="{F46F5340-F269-4BBA-AE17-43A4BB488557}"/>
          </ac:spMkLst>
        </pc:spChg>
      </pc:sldChg>
      <pc:sldChg chg="add">
        <pc:chgData name="Belling, Thomas (Nokia - DE/Munich)" userId="38e53bf5-7a59-41ec-8bf1-bf611b810166" providerId="ADAL" clId="{FC26F2D7-252C-44A9-9B43-0229726F65FA}" dt="2021-11-23T21:36:23.551" v="0"/>
        <pc:sldMkLst>
          <pc:docMk/>
          <pc:sldMk cId="2821593386" sldId="2134805550"/>
        </pc:sldMkLst>
      </pc:sldChg>
      <pc:sldChg chg="add del">
        <pc:chgData name="Belling, Thomas (Nokia - DE/Munich)" userId="38e53bf5-7a59-41ec-8bf1-bf611b810166" providerId="ADAL" clId="{FC26F2D7-252C-44A9-9B43-0229726F65FA}" dt="2021-11-26T11:46:35.560" v="55" actId="47"/>
        <pc:sldMkLst>
          <pc:docMk/>
          <pc:sldMk cId="2266930008" sldId="2134805551"/>
        </pc:sldMkLst>
      </pc:sldChg>
      <pc:sldChg chg="add del">
        <pc:chgData name="Belling, Thomas (Nokia - DE/Munich)" userId="38e53bf5-7a59-41ec-8bf1-bf611b810166" providerId="ADAL" clId="{FC26F2D7-252C-44A9-9B43-0229726F65FA}" dt="2021-11-26T11:46:35.560" v="55" actId="47"/>
        <pc:sldMkLst>
          <pc:docMk/>
          <pc:sldMk cId="666215272" sldId="2134805552"/>
        </pc:sldMkLst>
      </pc:sldChg>
      <pc:sldChg chg="del">
        <pc:chgData name="Belling, Thomas (Nokia - DE/Munich)" userId="38e53bf5-7a59-41ec-8bf1-bf611b810166" providerId="ADAL" clId="{FC26F2D7-252C-44A9-9B43-0229726F65FA}" dt="2021-11-26T11:46:35.560" v="55" actId="47"/>
        <pc:sldMkLst>
          <pc:docMk/>
          <pc:sldMk cId="2821593386" sldId="2134805553"/>
        </pc:sldMkLst>
      </pc:sldChg>
      <pc:sldChg chg="modSp add mod">
        <pc:chgData name="Belling, Thomas (Nokia - DE/Munich)" userId="38e53bf5-7a59-41ec-8bf1-bf611b810166" providerId="ADAL" clId="{FC26F2D7-252C-44A9-9B43-0229726F65FA}" dt="2021-11-24T15:54:55.915" v="32" actId="20577"/>
        <pc:sldMkLst>
          <pc:docMk/>
          <pc:sldMk cId="627665265" sldId="2134805554"/>
        </pc:sldMkLst>
        <pc:spChg chg="mod">
          <ac:chgData name="Belling, Thomas (Nokia - DE/Munich)" userId="38e53bf5-7a59-41ec-8bf1-bf611b810166" providerId="ADAL" clId="{FC26F2D7-252C-44A9-9B43-0229726F65FA}" dt="2021-11-24T15:54:55.915" v="32" actId="20577"/>
          <ac:spMkLst>
            <pc:docMk/>
            <pc:sldMk cId="627665265" sldId="2134805554"/>
            <ac:spMk id="2" creationId="{F55F6DD9-9F73-4475-B4C0-0BD35C69E49D}"/>
          </ac:spMkLst>
        </pc:spChg>
        <pc:spChg chg="mod">
          <ac:chgData name="Belling, Thomas (Nokia - DE/Munich)" userId="38e53bf5-7a59-41ec-8bf1-bf611b810166" providerId="ADAL" clId="{FC26F2D7-252C-44A9-9B43-0229726F65FA}" dt="2021-11-24T15:25:43.034" v="11" actId="113"/>
          <ac:spMkLst>
            <pc:docMk/>
            <pc:sldMk cId="627665265" sldId="2134805554"/>
            <ac:spMk id="3" creationId="{506A8607-C5AE-48A7-9AC8-7B6F426DD14D}"/>
          </ac:spMkLst>
        </pc:spChg>
        <pc:spChg chg="mod">
          <ac:chgData name="Belling, Thomas (Nokia - DE/Munich)" userId="38e53bf5-7a59-41ec-8bf1-bf611b810166" providerId="ADAL" clId="{FC26F2D7-252C-44A9-9B43-0229726F65FA}" dt="2021-11-24T15:53:01.808" v="26" actId="313"/>
          <ac:spMkLst>
            <pc:docMk/>
            <pc:sldMk cId="627665265" sldId="2134805554"/>
            <ac:spMk id="4" creationId="{CD72C33D-DF40-4601-AF02-8DFD5A6EA958}"/>
          </ac:spMkLst>
        </pc:spChg>
      </pc:sldChg>
      <pc:sldChg chg="del">
        <pc:chgData name="Belling, Thomas (Nokia - DE/Munich)" userId="38e53bf5-7a59-41ec-8bf1-bf611b810166" providerId="ADAL" clId="{FC26F2D7-252C-44A9-9B43-0229726F65FA}" dt="2021-11-26T08:59:32.033" v="54" actId="2696"/>
        <pc:sldMkLst>
          <pc:docMk/>
          <pc:sldMk cId="627665265" sldId="2134805555"/>
        </pc:sldMkLst>
      </pc:sldChg>
      <pc:sldChg chg="modSp add del mod">
        <pc:chgData name="Belling, Thomas (Nokia - DE/Munich)" userId="38e53bf5-7a59-41ec-8bf1-bf611b810166" providerId="ADAL" clId="{FC26F2D7-252C-44A9-9B43-0229726F65FA}" dt="2021-11-26T08:59:32.033" v="54" actId="2696"/>
        <pc:sldMkLst>
          <pc:docMk/>
          <pc:sldMk cId="823888255" sldId="2134805556"/>
        </pc:sldMkLst>
        <pc:spChg chg="mod">
          <ac:chgData name="Belling, Thomas (Nokia - DE/Munich)" userId="38e53bf5-7a59-41ec-8bf1-bf611b810166" providerId="ADAL" clId="{FC26F2D7-252C-44A9-9B43-0229726F65FA}" dt="2021-11-24T16:29:51.866" v="51"/>
          <ac:spMkLst>
            <pc:docMk/>
            <pc:sldMk cId="823888255" sldId="2134805556"/>
            <ac:spMk id="2" creationId="{F55F6DD9-9F73-4475-B4C0-0BD35C69E49D}"/>
          </ac:spMkLst>
        </pc:spChg>
        <pc:spChg chg="mod">
          <ac:chgData name="Belling, Thomas (Nokia - DE/Munich)" userId="38e53bf5-7a59-41ec-8bf1-bf611b810166" providerId="ADAL" clId="{FC26F2D7-252C-44A9-9B43-0229726F65FA}" dt="2021-11-24T16:28:38.977" v="42" actId="6549"/>
          <ac:spMkLst>
            <pc:docMk/>
            <pc:sldMk cId="823888255" sldId="2134805556"/>
            <ac:spMk id="3" creationId="{506A8607-C5AE-48A7-9AC8-7B6F426DD14D}"/>
          </ac:spMkLst>
        </pc:spChg>
        <pc:spChg chg="mod">
          <ac:chgData name="Belling, Thomas (Nokia - DE/Munich)" userId="38e53bf5-7a59-41ec-8bf1-bf611b810166" providerId="ADAL" clId="{FC26F2D7-252C-44A9-9B43-0229726F65FA}" dt="2021-11-24T16:29:12.654" v="50" actId="6549"/>
          <ac:spMkLst>
            <pc:docMk/>
            <pc:sldMk cId="823888255" sldId="2134805556"/>
            <ac:spMk id="4" creationId="{CD72C33D-DF40-4601-AF02-8DFD5A6EA958}"/>
          </ac:spMkLst>
        </pc:spChg>
      </pc:sldChg>
      <pc:sldChg chg="del">
        <pc:chgData name="Belling, Thomas (Nokia - DE/Munich)" userId="38e53bf5-7a59-41ec-8bf1-bf611b810166" providerId="ADAL" clId="{FC26F2D7-252C-44A9-9B43-0229726F65FA}" dt="2021-11-26T08:59:32.033" v="54" actId="2696"/>
        <pc:sldMkLst>
          <pc:docMk/>
          <pc:sldMk cId="2282114529" sldId="2134805557"/>
        </pc:sldMkLst>
      </pc:sldChg>
      <pc:sldChg chg="del">
        <pc:chgData name="Belling, Thomas (Nokia - DE/Munich)" userId="38e53bf5-7a59-41ec-8bf1-bf611b810166" providerId="ADAL" clId="{FC26F2D7-252C-44A9-9B43-0229726F65FA}" dt="2021-11-26T11:52:24.553" v="66" actId="2696"/>
        <pc:sldMkLst>
          <pc:docMk/>
          <pc:sldMk cId="802326583" sldId="2134805565"/>
        </pc:sldMkLst>
      </pc:sldChg>
      <pc:sldChg chg="add">
        <pc:chgData name="Belling, Thomas (Nokia - DE/Munich)" userId="38e53bf5-7a59-41ec-8bf1-bf611b810166" providerId="ADAL" clId="{FC26F2D7-252C-44A9-9B43-0229726F65FA}" dt="2021-11-26T11:52:31.782" v="67"/>
        <pc:sldMkLst>
          <pc:docMk/>
          <pc:sldMk cId="4008632245" sldId="2134805565"/>
        </pc:sldMkLst>
      </pc:sldChg>
      <pc:sldChg chg="add">
        <pc:chgData name="Belling, Thomas (Nokia - DE/Munich)" userId="38e53bf5-7a59-41ec-8bf1-bf611b810166" providerId="ADAL" clId="{FC26F2D7-252C-44A9-9B43-0229726F65FA}" dt="2021-11-26T11:52:31.782" v="67"/>
        <pc:sldMkLst>
          <pc:docMk/>
          <pc:sldMk cId="1411221200" sldId="2134805566"/>
        </pc:sldMkLst>
      </pc:sldChg>
      <pc:sldChg chg="del">
        <pc:chgData name="Belling, Thomas (Nokia - DE/Munich)" userId="38e53bf5-7a59-41ec-8bf1-bf611b810166" providerId="ADAL" clId="{FC26F2D7-252C-44A9-9B43-0229726F65FA}" dt="2021-11-26T11:52:24.553" v="66" actId="2696"/>
        <pc:sldMkLst>
          <pc:docMk/>
          <pc:sldMk cId="3410405402" sldId="2134805566"/>
        </pc:sldMkLst>
      </pc:sldChg>
      <pc:sldChg chg="del">
        <pc:chgData name="Belling, Thomas (Nokia - DE/Munich)" userId="38e53bf5-7a59-41ec-8bf1-bf611b810166" providerId="ADAL" clId="{FC26F2D7-252C-44A9-9B43-0229726F65FA}" dt="2021-11-26T11:52:24.553" v="66" actId="2696"/>
        <pc:sldMkLst>
          <pc:docMk/>
          <pc:sldMk cId="2033051534" sldId="2134805567"/>
        </pc:sldMkLst>
      </pc:sldChg>
      <pc:sldChg chg="modSp add mod">
        <pc:chgData name="Belling, Thomas (Nokia - DE/Munich)" userId="38e53bf5-7a59-41ec-8bf1-bf611b810166" providerId="ADAL" clId="{FC26F2D7-252C-44A9-9B43-0229726F65FA}" dt="2021-11-29T14:16:15.193" v="94" actId="20577"/>
        <pc:sldMkLst>
          <pc:docMk/>
          <pc:sldMk cId="3605258126" sldId="2134805567"/>
        </pc:sldMkLst>
        <pc:graphicFrameChg chg="modGraphic">
          <ac:chgData name="Belling, Thomas (Nokia - DE/Munich)" userId="38e53bf5-7a59-41ec-8bf1-bf611b810166" providerId="ADAL" clId="{FC26F2D7-252C-44A9-9B43-0229726F65FA}" dt="2021-11-29T14:16:15.193" v="94" actId="20577"/>
          <ac:graphicFrameMkLst>
            <pc:docMk/>
            <pc:sldMk cId="3605258126" sldId="2134805567"/>
            <ac:graphicFrameMk id="5" creationId="{B18B8BBD-93B6-4963-ADE3-1B0D59F6253B}"/>
          </ac:graphicFrameMkLst>
        </pc:graphicFrameChg>
      </pc:sldChg>
      <pc:sldChg chg="del">
        <pc:chgData name="Belling, Thomas (Nokia - DE/Munich)" userId="38e53bf5-7a59-41ec-8bf1-bf611b810166" providerId="ADAL" clId="{FC26F2D7-252C-44A9-9B43-0229726F65FA}" dt="2021-11-26T11:52:24.553" v="66" actId="2696"/>
        <pc:sldMkLst>
          <pc:docMk/>
          <pc:sldMk cId="2640858925" sldId="2134805568"/>
        </pc:sldMkLst>
      </pc:sldChg>
      <pc:sldChg chg="modSp add mod">
        <pc:chgData name="Belling, Thomas (Nokia - DE/Munich)" userId="38e53bf5-7a59-41ec-8bf1-bf611b810166" providerId="ADAL" clId="{FC26F2D7-252C-44A9-9B43-0229726F65FA}" dt="2021-11-29T14:17:26.487" v="100" actId="14734"/>
        <pc:sldMkLst>
          <pc:docMk/>
          <pc:sldMk cId="3368855379" sldId="2134805568"/>
        </pc:sldMkLst>
        <pc:spChg chg="mod">
          <ac:chgData name="Belling, Thomas (Nokia - DE/Munich)" userId="38e53bf5-7a59-41ec-8bf1-bf611b810166" providerId="ADAL" clId="{FC26F2D7-252C-44A9-9B43-0229726F65FA}" dt="2021-11-29T13:08:00.892" v="68" actId="20577"/>
          <ac:spMkLst>
            <pc:docMk/>
            <pc:sldMk cId="3368855379" sldId="2134805568"/>
            <ac:spMk id="4" creationId="{CD72C33D-DF40-4601-AF02-8DFD5A6EA958}"/>
          </ac:spMkLst>
        </pc:spChg>
        <pc:graphicFrameChg chg="mod modGraphic">
          <ac:chgData name="Belling, Thomas (Nokia - DE/Munich)" userId="38e53bf5-7a59-41ec-8bf1-bf611b810166" providerId="ADAL" clId="{FC26F2D7-252C-44A9-9B43-0229726F65FA}" dt="2021-11-29T14:17:26.487" v="100" actId="14734"/>
          <ac:graphicFrameMkLst>
            <pc:docMk/>
            <pc:sldMk cId="3368855379" sldId="2134805568"/>
            <ac:graphicFrameMk id="5" creationId="{89A36127-47A9-4CCA-AE56-E73D0D09DCD1}"/>
          </ac:graphicFrameMkLst>
        </pc:graphicFrameChg>
      </pc:sldChg>
    </pc:docChg>
  </pc:docChgLst>
  <pc:docChgLst>
    <pc:chgData name="Hietalahti, Hannu (Nokia - FI/Oulu)" userId="bcd6d86d-9ffc-4aa1-b5a6-083a51dd89a7" providerId="ADAL" clId="{DCE1CC0F-CF6D-4D61-806A-207C8FF04839}"/>
    <pc:docChg chg="undo custSel addSld delSld modSld sldOrd">
      <pc:chgData name="Hietalahti, Hannu (Nokia - FI/Oulu)" userId="bcd6d86d-9ffc-4aa1-b5a6-083a51dd89a7" providerId="ADAL" clId="{DCE1CC0F-CF6D-4D61-806A-207C8FF04839}" dt="2022-03-03T13:53:33.847" v="2560" actId="6549"/>
      <pc:docMkLst>
        <pc:docMk/>
      </pc:docMkLst>
      <pc:sldChg chg="modSp del mod">
        <pc:chgData name="Hietalahti, Hannu (Nokia - FI/Oulu)" userId="bcd6d86d-9ffc-4aa1-b5a6-083a51dd89a7" providerId="ADAL" clId="{DCE1CC0F-CF6D-4D61-806A-207C8FF04839}" dt="2022-03-03T10:41:20.401" v="590" actId="47"/>
        <pc:sldMkLst>
          <pc:docMk/>
          <pc:sldMk cId="1411221200" sldId="2134805566"/>
        </pc:sldMkLst>
        <pc:spChg chg="mod">
          <ac:chgData name="Hietalahti, Hannu (Nokia - FI/Oulu)" userId="bcd6d86d-9ffc-4aa1-b5a6-083a51dd89a7" providerId="ADAL" clId="{DCE1CC0F-CF6D-4D61-806A-207C8FF04839}" dt="2022-03-03T10:36:48.437" v="403" actId="21"/>
          <ac:spMkLst>
            <pc:docMk/>
            <pc:sldMk cId="1411221200" sldId="2134805566"/>
            <ac:spMk id="4" creationId="{CD72C33D-DF40-4601-AF02-8DFD5A6EA958}"/>
          </ac:spMkLst>
        </pc:spChg>
      </pc:sldChg>
      <pc:sldChg chg="del">
        <pc:chgData name="Hietalahti, Hannu (Nokia - FI/Oulu)" userId="bcd6d86d-9ffc-4aa1-b5a6-083a51dd89a7" providerId="ADAL" clId="{DCE1CC0F-CF6D-4D61-806A-207C8FF04839}" dt="2022-03-03T10:49:09.786" v="1184" actId="47"/>
        <pc:sldMkLst>
          <pc:docMk/>
          <pc:sldMk cId="3055462933" sldId="2134805570"/>
        </pc:sldMkLst>
      </pc:sldChg>
      <pc:sldChg chg="modSp mod">
        <pc:chgData name="Hietalahti, Hannu (Nokia - FI/Oulu)" userId="bcd6d86d-9ffc-4aa1-b5a6-083a51dd89a7" providerId="ADAL" clId="{DCE1CC0F-CF6D-4D61-806A-207C8FF04839}" dt="2022-03-03T11:24:41.601" v="2015" actId="20577"/>
        <pc:sldMkLst>
          <pc:docMk/>
          <pc:sldMk cId="4241914170" sldId="2134805571"/>
        </pc:sldMkLst>
        <pc:spChg chg="mod">
          <ac:chgData name="Hietalahti, Hannu (Nokia - FI/Oulu)" userId="bcd6d86d-9ffc-4aa1-b5a6-083a51dd89a7" providerId="ADAL" clId="{DCE1CC0F-CF6D-4D61-806A-207C8FF04839}" dt="2022-03-03T11:19:36.512" v="1895" actId="255"/>
          <ac:spMkLst>
            <pc:docMk/>
            <pc:sldMk cId="4241914170" sldId="2134805571"/>
            <ac:spMk id="2" creationId="{F55F6DD9-9F73-4475-B4C0-0BD35C69E49D}"/>
          </ac:spMkLst>
        </pc:spChg>
        <pc:spChg chg="mod">
          <ac:chgData name="Hietalahti, Hannu (Nokia - FI/Oulu)" userId="bcd6d86d-9ffc-4aa1-b5a6-083a51dd89a7" providerId="ADAL" clId="{DCE1CC0F-CF6D-4D61-806A-207C8FF04839}" dt="2022-03-03T11:15:37.718" v="1753" actId="20577"/>
          <ac:spMkLst>
            <pc:docMk/>
            <pc:sldMk cId="4241914170" sldId="2134805571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DCE1CC0F-CF6D-4D61-806A-207C8FF04839}" dt="2022-03-03T11:24:41.601" v="2015" actId="20577"/>
          <ac:spMkLst>
            <pc:docMk/>
            <pc:sldMk cId="4241914170" sldId="2134805571"/>
            <ac:spMk id="4" creationId="{CD72C33D-DF40-4601-AF02-8DFD5A6EA958}"/>
          </ac:spMkLst>
        </pc:spChg>
        <pc:graphicFrameChg chg="mod">
          <ac:chgData name="Hietalahti, Hannu (Nokia - FI/Oulu)" userId="bcd6d86d-9ffc-4aa1-b5a6-083a51dd89a7" providerId="ADAL" clId="{DCE1CC0F-CF6D-4D61-806A-207C8FF04839}" dt="2022-03-03T11:11:33.523" v="1697" actId="1035"/>
          <ac:graphicFrameMkLst>
            <pc:docMk/>
            <pc:sldMk cId="4241914170" sldId="2134805571"/>
            <ac:graphicFrameMk id="5" creationId="{ACB35D8B-CB72-4083-B8D5-44BE58A45729}"/>
          </ac:graphicFrameMkLst>
        </pc:graphicFrameChg>
      </pc:sldChg>
      <pc:sldChg chg="del">
        <pc:chgData name="Hietalahti, Hannu (Nokia - FI/Oulu)" userId="bcd6d86d-9ffc-4aa1-b5a6-083a51dd89a7" providerId="ADAL" clId="{DCE1CC0F-CF6D-4D61-806A-207C8FF04839}" dt="2022-03-03T10:50:04.556" v="1340" actId="47"/>
        <pc:sldMkLst>
          <pc:docMk/>
          <pc:sldMk cId="773025891" sldId="2134805572"/>
        </pc:sldMkLst>
      </pc:sldChg>
      <pc:sldChg chg="addSp modSp add mod">
        <pc:chgData name="Hietalahti, Hannu (Nokia - FI/Oulu)" userId="bcd6d86d-9ffc-4aa1-b5a6-083a51dd89a7" providerId="ADAL" clId="{DCE1CC0F-CF6D-4D61-806A-207C8FF04839}" dt="2022-03-03T11:20:09.583" v="1910" actId="20577"/>
        <pc:sldMkLst>
          <pc:docMk/>
          <pc:sldMk cId="2379651012" sldId="2146846788"/>
        </pc:sldMkLst>
        <pc:spChg chg="mod">
          <ac:chgData name="Hietalahti, Hannu (Nokia - FI/Oulu)" userId="bcd6d86d-9ffc-4aa1-b5a6-083a51dd89a7" providerId="ADAL" clId="{DCE1CC0F-CF6D-4D61-806A-207C8FF04839}" dt="2022-03-03T11:20:09.583" v="1910" actId="20577"/>
          <ac:spMkLst>
            <pc:docMk/>
            <pc:sldMk cId="2379651012" sldId="2146846788"/>
            <ac:spMk id="3" creationId="{5B84A4F0-57DA-4FC9-AEAC-815E3FF90221}"/>
          </ac:spMkLst>
        </pc:spChg>
        <pc:spChg chg="mod">
          <ac:chgData name="Hietalahti, Hannu (Nokia - FI/Oulu)" userId="bcd6d86d-9ffc-4aa1-b5a6-083a51dd89a7" providerId="ADAL" clId="{DCE1CC0F-CF6D-4D61-806A-207C8FF04839}" dt="2022-03-03T11:04:18.163" v="1440" actId="20577"/>
          <ac:spMkLst>
            <pc:docMk/>
            <pc:sldMk cId="2379651012" sldId="2146846788"/>
            <ac:spMk id="5" creationId="{A560F786-3A6C-41F0-99EF-DFF4DE7F777C}"/>
          </ac:spMkLst>
        </pc:spChg>
        <pc:graphicFrameChg chg="add mod">
          <ac:chgData name="Hietalahti, Hannu (Nokia - FI/Oulu)" userId="bcd6d86d-9ffc-4aa1-b5a6-083a51dd89a7" providerId="ADAL" clId="{DCE1CC0F-CF6D-4D61-806A-207C8FF04839}" dt="2022-03-03T10:48:10.449" v="1183" actId="1036"/>
          <ac:graphicFrameMkLst>
            <pc:docMk/>
            <pc:sldMk cId="2379651012" sldId="2146846788"/>
            <ac:graphicFrameMk id="6" creationId="{B900D86B-0BC6-400F-A1C3-2B03462D8A77}"/>
          </ac:graphicFrameMkLst>
        </pc:graphicFrameChg>
      </pc:sldChg>
      <pc:sldChg chg="addSp delSp modSp add mod ord">
        <pc:chgData name="Hietalahti, Hannu (Nokia - FI/Oulu)" userId="bcd6d86d-9ffc-4aa1-b5a6-083a51dd89a7" providerId="ADAL" clId="{DCE1CC0F-CF6D-4D61-806A-207C8FF04839}" dt="2022-03-03T11:03:51.369" v="1416" actId="20577"/>
        <pc:sldMkLst>
          <pc:docMk/>
          <pc:sldMk cId="1570086599" sldId="2146846789"/>
        </pc:sldMkLst>
        <pc:spChg chg="mod">
          <ac:chgData name="Hietalahti, Hannu (Nokia - FI/Oulu)" userId="bcd6d86d-9ffc-4aa1-b5a6-083a51dd89a7" providerId="ADAL" clId="{DCE1CC0F-CF6D-4D61-806A-207C8FF04839}" dt="2022-03-03T10:34:27.660" v="271" actId="20577"/>
          <ac:spMkLst>
            <pc:docMk/>
            <pc:sldMk cId="1570086599" sldId="2146846789"/>
            <ac:spMk id="3" creationId="{5B84A4F0-57DA-4FC9-AEAC-815E3FF90221}"/>
          </ac:spMkLst>
        </pc:spChg>
        <pc:spChg chg="mod">
          <ac:chgData name="Hietalahti, Hannu (Nokia - FI/Oulu)" userId="bcd6d86d-9ffc-4aa1-b5a6-083a51dd89a7" providerId="ADAL" clId="{DCE1CC0F-CF6D-4D61-806A-207C8FF04839}" dt="2022-03-03T11:03:51.369" v="1416" actId="20577"/>
          <ac:spMkLst>
            <pc:docMk/>
            <pc:sldMk cId="1570086599" sldId="2146846789"/>
            <ac:spMk id="5" creationId="{A560F786-3A6C-41F0-99EF-DFF4DE7F777C}"/>
          </ac:spMkLst>
        </pc:spChg>
        <pc:spChg chg="add del">
          <ac:chgData name="Hietalahti, Hannu (Nokia - FI/Oulu)" userId="bcd6d86d-9ffc-4aa1-b5a6-083a51dd89a7" providerId="ADAL" clId="{DCE1CC0F-CF6D-4D61-806A-207C8FF04839}" dt="2022-03-03T10:40:40.591" v="458" actId="478"/>
          <ac:spMkLst>
            <pc:docMk/>
            <pc:sldMk cId="1570086599" sldId="2146846789"/>
            <ac:spMk id="7" creationId="{918F7B57-DBE5-4CAB-83E5-1BAB276F43C2}"/>
          </ac:spMkLst>
        </pc:spChg>
        <pc:graphicFrameChg chg="add mod">
          <ac:chgData name="Hietalahti, Hannu (Nokia - FI/Oulu)" userId="bcd6d86d-9ffc-4aa1-b5a6-083a51dd89a7" providerId="ADAL" clId="{DCE1CC0F-CF6D-4D61-806A-207C8FF04839}" dt="2022-03-03T10:41:06.830" v="589" actId="1037"/>
          <ac:graphicFrameMkLst>
            <pc:docMk/>
            <pc:sldMk cId="1570086599" sldId="2146846789"/>
            <ac:graphicFrameMk id="8" creationId="{1E49B674-CEDF-4E21-8BF2-FFD77F4CFA7F}"/>
          </ac:graphicFrameMkLst>
        </pc:graphicFrameChg>
      </pc:sldChg>
      <pc:sldChg chg="modSp add mod">
        <pc:chgData name="Hietalahti, Hannu (Nokia - FI/Oulu)" userId="bcd6d86d-9ffc-4aa1-b5a6-083a51dd89a7" providerId="ADAL" clId="{DCE1CC0F-CF6D-4D61-806A-207C8FF04839}" dt="2022-03-03T11:23:07.952" v="1993" actId="20577"/>
        <pc:sldMkLst>
          <pc:docMk/>
          <pc:sldMk cId="2054285720" sldId="2146846790"/>
        </pc:sldMkLst>
        <pc:spChg chg="mod">
          <ac:chgData name="Hietalahti, Hannu (Nokia - FI/Oulu)" userId="bcd6d86d-9ffc-4aa1-b5a6-083a51dd89a7" providerId="ADAL" clId="{DCE1CC0F-CF6D-4D61-806A-207C8FF04839}" dt="2022-03-03T11:21:48.649" v="1991" actId="113"/>
          <ac:spMkLst>
            <pc:docMk/>
            <pc:sldMk cId="2054285720" sldId="2146846790"/>
            <ac:spMk id="2" creationId="{F55F6DD9-9F73-4475-B4C0-0BD35C69E49D}"/>
          </ac:spMkLst>
        </pc:spChg>
        <pc:spChg chg="mod">
          <ac:chgData name="Hietalahti, Hannu (Nokia - FI/Oulu)" userId="bcd6d86d-9ffc-4aa1-b5a6-083a51dd89a7" providerId="ADAL" clId="{DCE1CC0F-CF6D-4D61-806A-207C8FF04839}" dt="2022-03-03T11:16:55.566" v="1832" actId="20577"/>
          <ac:spMkLst>
            <pc:docMk/>
            <pc:sldMk cId="2054285720" sldId="2146846790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DCE1CC0F-CF6D-4D61-806A-207C8FF04839}" dt="2022-03-03T11:23:07.952" v="1993" actId="20577"/>
          <ac:spMkLst>
            <pc:docMk/>
            <pc:sldMk cId="2054285720" sldId="2146846790"/>
            <ac:spMk id="4" creationId="{CD72C33D-DF40-4601-AF02-8DFD5A6EA958}"/>
          </ac:spMkLst>
        </pc:spChg>
      </pc:sldChg>
      <pc:sldChg chg="modSp mod">
        <pc:chgData name="Hietalahti, Hannu (Nokia - FI/Oulu)" userId="bcd6d86d-9ffc-4aa1-b5a6-083a51dd89a7" providerId="ADAL" clId="{DCE1CC0F-CF6D-4D61-806A-207C8FF04839}" dt="2022-03-03T13:53:33.847" v="2560" actId="6549"/>
        <pc:sldMkLst>
          <pc:docMk/>
          <pc:sldMk cId="2054285720" sldId="2146846792"/>
        </pc:sldMkLst>
        <pc:spChg chg="mod">
          <ac:chgData name="Hietalahti, Hannu (Nokia - FI/Oulu)" userId="bcd6d86d-9ffc-4aa1-b5a6-083a51dd89a7" providerId="ADAL" clId="{DCE1CC0F-CF6D-4D61-806A-207C8FF04839}" dt="2022-03-03T13:53:33.847" v="2560" actId="6549"/>
          <ac:spMkLst>
            <pc:docMk/>
            <pc:sldMk cId="2054285720" sldId="2146846792"/>
            <ac:spMk id="4" creationId="{CD72C33D-DF40-4601-AF02-8DFD5A6EA958}"/>
          </ac:spMkLst>
        </pc:spChg>
        <pc:graphicFrameChg chg="mod">
          <ac:chgData name="Hietalahti, Hannu (Nokia - FI/Oulu)" userId="bcd6d86d-9ffc-4aa1-b5a6-083a51dd89a7" providerId="ADAL" clId="{DCE1CC0F-CF6D-4D61-806A-207C8FF04839}" dt="2022-03-03T13:47:28.960" v="2451" actId="1036"/>
          <ac:graphicFrameMkLst>
            <pc:docMk/>
            <pc:sldMk cId="2054285720" sldId="2146846792"/>
            <ac:graphicFrameMk id="5" creationId="{ACB35D8B-CB72-4083-B8D5-44BE58A45729}"/>
          </ac:graphicFrameMkLst>
        </pc:graphicFrameChg>
      </pc:sldChg>
    </pc:docChg>
  </pc:docChgLst>
  <pc:docChgLst>
    <pc:chgData name="Liebhart, Rainer (Nokia - DE/Munich)" userId="9d27e965-bed7-441e-8c07-02c758a9258d" providerId="ADAL" clId="{41B63796-9999-4EF8-B5DB-EB5D1201ADE0}"/>
    <pc:docChg chg="undo custSel delSld modSld">
      <pc:chgData name="Liebhart, Rainer (Nokia - DE/Munich)" userId="9d27e965-bed7-441e-8c07-02c758a9258d" providerId="ADAL" clId="{41B63796-9999-4EF8-B5DB-EB5D1201ADE0}" dt="2022-09-03T06:36:35.769" v="802" actId="20577"/>
      <pc:docMkLst>
        <pc:docMk/>
      </pc:docMkLst>
      <pc:sldChg chg="modSp mod">
        <pc:chgData name="Liebhart, Rainer (Nokia - DE/Munich)" userId="9d27e965-bed7-441e-8c07-02c758a9258d" providerId="ADAL" clId="{41B63796-9999-4EF8-B5DB-EB5D1201ADE0}" dt="2022-09-03T06:35:18.105" v="796" actId="20577"/>
        <pc:sldMkLst>
          <pc:docMk/>
          <pc:sldMk cId="2093721602" sldId="2134805360"/>
        </pc:sldMkLst>
        <pc:spChg chg="mod">
          <ac:chgData name="Liebhart, Rainer (Nokia - DE/Munich)" userId="9d27e965-bed7-441e-8c07-02c758a9258d" providerId="ADAL" clId="{41B63796-9999-4EF8-B5DB-EB5D1201ADE0}" dt="2022-09-03T06:35:18.105" v="796" actId="20577"/>
          <ac:spMkLst>
            <pc:docMk/>
            <pc:sldMk cId="2093721602" sldId="2134805360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41B63796-9999-4EF8-B5DB-EB5D1201ADE0}" dt="2022-09-03T06:29:48.255" v="467" actId="6549"/>
        <pc:sldMkLst>
          <pc:docMk/>
          <pc:sldMk cId="3189624576" sldId="2134805455"/>
        </pc:sldMkLst>
        <pc:spChg chg="mod">
          <ac:chgData name="Liebhart, Rainer (Nokia - DE/Munich)" userId="9d27e965-bed7-441e-8c07-02c758a9258d" providerId="ADAL" clId="{41B63796-9999-4EF8-B5DB-EB5D1201ADE0}" dt="2022-09-03T06:29:48.255" v="467" actId="6549"/>
          <ac:spMkLst>
            <pc:docMk/>
            <pc:sldMk cId="3189624576" sldId="2134805455"/>
            <ac:spMk id="6" creationId="{2E20DBE3-132B-4E49-9B12-D7A9DE1B1D38}"/>
          </ac:spMkLst>
        </pc:spChg>
      </pc:sldChg>
      <pc:sldChg chg="del">
        <pc:chgData name="Liebhart, Rainer (Nokia - DE/Munich)" userId="9d27e965-bed7-441e-8c07-02c758a9258d" providerId="ADAL" clId="{41B63796-9999-4EF8-B5DB-EB5D1201ADE0}" dt="2022-09-02T08:48:19.915" v="0" actId="47"/>
        <pc:sldMkLst>
          <pc:docMk/>
          <pc:sldMk cId="136686226" sldId="2134805458"/>
        </pc:sldMkLst>
      </pc:sldChg>
      <pc:sldChg chg="modSp mod">
        <pc:chgData name="Liebhart, Rainer (Nokia - DE/Munich)" userId="9d27e965-bed7-441e-8c07-02c758a9258d" providerId="ADAL" clId="{41B63796-9999-4EF8-B5DB-EB5D1201ADE0}" dt="2022-09-03T06:34:33.542" v="789" actId="6549"/>
        <pc:sldMkLst>
          <pc:docMk/>
          <pc:sldMk cId="739015424" sldId="2134805526"/>
        </pc:sldMkLst>
        <pc:spChg chg="mod">
          <ac:chgData name="Liebhart, Rainer (Nokia - DE/Munich)" userId="9d27e965-bed7-441e-8c07-02c758a9258d" providerId="ADAL" clId="{41B63796-9999-4EF8-B5DB-EB5D1201ADE0}" dt="2022-09-03T06:34:33.542" v="789" actId="6549"/>
          <ac:spMkLst>
            <pc:docMk/>
            <pc:sldMk cId="739015424" sldId="2134805526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41B63796-9999-4EF8-B5DB-EB5D1201ADE0}" dt="2022-09-03T06:36:35.769" v="802" actId="20577"/>
        <pc:sldMkLst>
          <pc:docMk/>
          <pc:sldMk cId="2663340322" sldId="2146846852"/>
        </pc:sldMkLst>
        <pc:spChg chg="mod">
          <ac:chgData name="Liebhart, Rainer (Nokia - DE/Munich)" userId="9d27e965-bed7-441e-8c07-02c758a9258d" providerId="ADAL" clId="{41B63796-9999-4EF8-B5DB-EB5D1201ADE0}" dt="2022-09-03T06:36:35.769" v="802" actId="20577"/>
          <ac:spMkLst>
            <pc:docMk/>
            <pc:sldMk cId="2663340322" sldId="2146846852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41B63796-9999-4EF8-B5DB-EB5D1201ADE0}" dt="2022-09-03T06:32:31.073" v="622" actId="20577"/>
        <pc:sldMkLst>
          <pc:docMk/>
          <pc:sldMk cId="3429488682" sldId="2146846897"/>
        </pc:sldMkLst>
        <pc:spChg chg="mod">
          <ac:chgData name="Liebhart, Rainer (Nokia - DE/Munich)" userId="9d27e965-bed7-441e-8c07-02c758a9258d" providerId="ADAL" clId="{41B63796-9999-4EF8-B5DB-EB5D1201ADE0}" dt="2022-09-03T06:32:31.073" v="622" actId="20577"/>
          <ac:spMkLst>
            <pc:docMk/>
            <pc:sldMk cId="3429488682" sldId="2146846897"/>
            <ac:spMk id="6" creationId="{2E20DBE3-132B-4E49-9B12-D7A9DE1B1D38}"/>
          </ac:spMkLst>
        </pc:spChg>
      </pc:sldChg>
    </pc:docChg>
  </pc:docChgLst>
  <pc:docChgLst>
    <pc:chgData name="Lair, Yannick (Nokia - FR/Paris-Saclay)" userId="e0601b81-de45-4b0d-b7c3-b06e9080ce2c" providerId="ADAL" clId="{193ACFBF-4DD3-45B8-93EE-F6CD5F0306F7}"/>
    <pc:docChg chg="undo redo custSel addSld modSld">
      <pc:chgData name="Lair, Yannick (Nokia - FR/Paris-Saclay)" userId="e0601b81-de45-4b0d-b7c3-b06e9080ce2c" providerId="ADAL" clId="{193ACFBF-4DD3-45B8-93EE-F6CD5F0306F7}" dt="2022-09-09T08:18:11.323" v="762" actId="20577"/>
      <pc:docMkLst>
        <pc:docMk/>
      </pc:docMkLst>
      <pc:sldChg chg="modSp mod">
        <pc:chgData name="Lair, Yannick (Nokia - FR/Paris-Saclay)" userId="e0601b81-de45-4b0d-b7c3-b06e9080ce2c" providerId="ADAL" clId="{193ACFBF-4DD3-45B8-93EE-F6CD5F0306F7}" dt="2022-09-08T08:46:39.133" v="127" actId="113"/>
        <pc:sldMkLst>
          <pc:docMk/>
          <pc:sldMk cId="1819896102" sldId="2134805586"/>
        </pc:sldMkLst>
        <pc:spChg chg="mod">
          <ac:chgData name="Lair, Yannick (Nokia - FR/Paris-Saclay)" userId="e0601b81-de45-4b0d-b7c3-b06e9080ce2c" providerId="ADAL" clId="{193ACFBF-4DD3-45B8-93EE-F6CD5F0306F7}" dt="2022-09-08T08:46:39.133" v="127" actId="113"/>
          <ac:spMkLst>
            <pc:docMk/>
            <pc:sldMk cId="1819896102" sldId="2134805586"/>
            <ac:spMk id="4" creationId="{CD72C33D-DF40-4601-AF02-8DFD5A6EA958}"/>
          </ac:spMkLst>
        </pc:spChg>
      </pc:sldChg>
      <pc:sldChg chg="modSp mod">
        <pc:chgData name="Lair, Yannick (Nokia - FR/Paris-Saclay)" userId="e0601b81-de45-4b0d-b7c3-b06e9080ce2c" providerId="ADAL" clId="{193ACFBF-4DD3-45B8-93EE-F6CD5F0306F7}" dt="2022-09-08T08:48:59.706" v="168" actId="20577"/>
        <pc:sldMkLst>
          <pc:docMk/>
          <pc:sldMk cId="3007859491" sldId="2134805595"/>
        </pc:sldMkLst>
        <pc:spChg chg="mod">
          <ac:chgData name="Lair, Yannick (Nokia - FR/Paris-Saclay)" userId="e0601b81-de45-4b0d-b7c3-b06e9080ce2c" providerId="ADAL" clId="{193ACFBF-4DD3-45B8-93EE-F6CD5F0306F7}" dt="2022-09-08T08:48:59.706" v="168" actId="20577"/>
          <ac:spMkLst>
            <pc:docMk/>
            <pc:sldMk cId="3007859491" sldId="2134805595"/>
            <ac:spMk id="4" creationId="{CD72C33D-DF40-4601-AF02-8DFD5A6EA958}"/>
          </ac:spMkLst>
        </pc:spChg>
      </pc:sldChg>
      <pc:sldChg chg="delSp modSp add mod">
        <pc:chgData name="Lair, Yannick (Nokia - FR/Paris-Saclay)" userId="e0601b81-de45-4b0d-b7c3-b06e9080ce2c" providerId="ADAL" clId="{193ACFBF-4DD3-45B8-93EE-F6CD5F0306F7}" dt="2022-09-09T08:18:11.323" v="762" actId="20577"/>
        <pc:sldMkLst>
          <pc:docMk/>
          <pc:sldMk cId="3987212606" sldId="2146846936"/>
        </pc:sldMkLst>
        <pc:spChg chg="mod">
          <ac:chgData name="Lair, Yannick (Nokia - FR/Paris-Saclay)" userId="e0601b81-de45-4b0d-b7c3-b06e9080ce2c" providerId="ADAL" clId="{193ACFBF-4DD3-45B8-93EE-F6CD5F0306F7}" dt="2022-09-09T08:18:11.323" v="762" actId="20577"/>
          <ac:spMkLst>
            <pc:docMk/>
            <pc:sldMk cId="3987212606" sldId="2146846936"/>
            <ac:spMk id="4" creationId="{CD72C33D-DF40-4601-AF02-8DFD5A6EA958}"/>
          </ac:spMkLst>
        </pc:spChg>
        <pc:graphicFrameChg chg="del">
          <ac:chgData name="Lair, Yannick (Nokia - FR/Paris-Saclay)" userId="e0601b81-de45-4b0d-b7c3-b06e9080ce2c" providerId="ADAL" clId="{193ACFBF-4DD3-45B8-93EE-F6CD5F0306F7}" dt="2022-09-08T08:49:40.411" v="196" actId="478"/>
          <ac:graphicFrameMkLst>
            <pc:docMk/>
            <pc:sldMk cId="3987212606" sldId="2146846936"/>
            <ac:graphicFrameMk id="5" creationId="{147F1A6A-0E16-4C84-8E82-5039900CDD75}"/>
          </ac:graphicFrameMkLst>
        </pc:graphicFrameChg>
        <pc:graphicFrameChg chg="del">
          <ac:chgData name="Lair, Yannick (Nokia - FR/Paris-Saclay)" userId="e0601b81-de45-4b0d-b7c3-b06e9080ce2c" providerId="ADAL" clId="{193ACFBF-4DD3-45B8-93EE-F6CD5F0306F7}" dt="2022-09-08T08:49:34.295" v="194" actId="478"/>
          <ac:graphicFrameMkLst>
            <pc:docMk/>
            <pc:sldMk cId="3987212606" sldId="2146846936"/>
            <ac:graphicFrameMk id="7" creationId="{8E2396B6-3C86-4578-9DAB-B2E6D6977FDE}"/>
          </ac:graphicFrameMkLst>
        </pc:graphicFrameChg>
      </pc:sldChg>
    </pc:docChg>
  </pc:docChgLst>
  <pc:docChgLst>
    <pc:chgData name="Alessio Casati (Nokia)" userId="6f050b0a-bf61-49f1-93be-076af52cf2e7" providerId="ADAL" clId="{E74F1E39-729C-4305-BDA0-1793746971E3}"/>
    <pc:docChg chg="undo custSel addSld delSld modSld">
      <pc:chgData name="Alessio Casati (Nokia)" userId="6f050b0a-bf61-49f1-93be-076af52cf2e7" providerId="ADAL" clId="{E74F1E39-729C-4305-BDA0-1793746971E3}" dt="2023-03-02T15:09:57.094" v="873" actId="5793"/>
      <pc:docMkLst>
        <pc:docMk/>
      </pc:docMkLst>
      <pc:sldChg chg="modSp mod">
        <pc:chgData name="Alessio Casati (Nokia)" userId="6f050b0a-bf61-49f1-93be-076af52cf2e7" providerId="ADAL" clId="{E74F1E39-729C-4305-BDA0-1793746971E3}" dt="2023-03-02T14:56:48.003" v="276"/>
        <pc:sldMkLst>
          <pc:docMk/>
          <pc:sldMk cId="1762226801" sldId="2146846817"/>
        </pc:sldMkLst>
        <pc:spChg chg="mod">
          <ac:chgData name="Alessio Casati (Nokia)" userId="6f050b0a-bf61-49f1-93be-076af52cf2e7" providerId="ADAL" clId="{E74F1E39-729C-4305-BDA0-1793746971E3}" dt="2023-03-02T14:56:48.003" v="276"/>
          <ac:spMkLst>
            <pc:docMk/>
            <pc:sldMk cId="1762226801" sldId="2146846817"/>
            <ac:spMk id="2" creationId="{F55F6DD9-9F73-4475-B4C0-0BD35C69E49D}"/>
          </ac:spMkLst>
        </pc:spChg>
      </pc:sldChg>
      <pc:sldChg chg="modSp mod">
        <pc:chgData name="Alessio Casati (Nokia)" userId="6f050b0a-bf61-49f1-93be-076af52cf2e7" providerId="ADAL" clId="{E74F1E39-729C-4305-BDA0-1793746971E3}" dt="2023-03-02T14:57:10.748" v="277"/>
        <pc:sldMkLst>
          <pc:docMk/>
          <pc:sldMk cId="1638951385" sldId="2146846818"/>
        </pc:sldMkLst>
        <pc:spChg chg="mod">
          <ac:chgData name="Alessio Casati (Nokia)" userId="6f050b0a-bf61-49f1-93be-076af52cf2e7" providerId="ADAL" clId="{E74F1E39-729C-4305-BDA0-1793746971E3}" dt="2023-03-02T14:57:10.748" v="277"/>
          <ac:spMkLst>
            <pc:docMk/>
            <pc:sldMk cId="1638951385" sldId="2146846818"/>
            <ac:spMk id="2" creationId="{F55F6DD9-9F73-4475-B4C0-0BD35C69E49D}"/>
          </ac:spMkLst>
        </pc:spChg>
      </pc:sldChg>
      <pc:sldChg chg="modSp mod">
        <pc:chgData name="Alessio Casati (Nokia)" userId="6f050b0a-bf61-49f1-93be-076af52cf2e7" providerId="ADAL" clId="{E74F1E39-729C-4305-BDA0-1793746971E3}" dt="2023-03-02T15:05:15.518" v="371" actId="6549"/>
        <pc:sldMkLst>
          <pc:docMk/>
          <pc:sldMk cId="31144451" sldId="2146846844"/>
        </pc:sldMkLst>
        <pc:spChg chg="mod">
          <ac:chgData name="Alessio Casati (Nokia)" userId="6f050b0a-bf61-49f1-93be-076af52cf2e7" providerId="ADAL" clId="{E74F1E39-729C-4305-BDA0-1793746971E3}" dt="2023-03-02T14:55:30.200" v="254" actId="20577"/>
          <ac:spMkLst>
            <pc:docMk/>
            <pc:sldMk cId="31144451" sldId="2146846844"/>
            <ac:spMk id="2" creationId="{F55F6DD9-9F73-4475-B4C0-0BD35C69E49D}"/>
          </ac:spMkLst>
        </pc:spChg>
        <pc:spChg chg="mod">
          <ac:chgData name="Alessio Casati (Nokia)" userId="6f050b0a-bf61-49f1-93be-076af52cf2e7" providerId="ADAL" clId="{E74F1E39-729C-4305-BDA0-1793746971E3}" dt="2023-03-02T15:05:15.518" v="371" actId="6549"/>
          <ac:spMkLst>
            <pc:docMk/>
            <pc:sldMk cId="31144451" sldId="2146846844"/>
            <ac:spMk id="5" creationId="{BCDEC535-7E3A-FE76-6A95-6077FF45D700}"/>
          </ac:spMkLst>
        </pc:spChg>
      </pc:sldChg>
      <pc:sldChg chg="del">
        <pc:chgData name="Alessio Casati (Nokia)" userId="6f050b0a-bf61-49f1-93be-076af52cf2e7" providerId="ADAL" clId="{E74F1E39-729C-4305-BDA0-1793746971E3}" dt="2023-03-02T14:40:43.430" v="137" actId="47"/>
        <pc:sldMkLst>
          <pc:docMk/>
          <pc:sldMk cId="1458889007" sldId="2146846846"/>
        </pc:sldMkLst>
      </pc:sldChg>
      <pc:sldChg chg="modSp mod">
        <pc:chgData name="Alessio Casati (Nokia)" userId="6f050b0a-bf61-49f1-93be-076af52cf2e7" providerId="ADAL" clId="{E74F1E39-729C-4305-BDA0-1793746971E3}" dt="2023-03-02T14:41:02.396" v="141" actId="27636"/>
        <pc:sldMkLst>
          <pc:docMk/>
          <pc:sldMk cId="2047454418" sldId="2146846898"/>
        </pc:sldMkLst>
        <pc:spChg chg="mod">
          <ac:chgData name="Alessio Casati (Nokia)" userId="6f050b0a-bf61-49f1-93be-076af52cf2e7" providerId="ADAL" clId="{E74F1E39-729C-4305-BDA0-1793746971E3}" dt="2023-03-02T14:38:12.619" v="114" actId="20577"/>
          <ac:spMkLst>
            <pc:docMk/>
            <pc:sldMk cId="2047454418" sldId="2146846898"/>
            <ac:spMk id="2" creationId="{F55F6DD9-9F73-4475-B4C0-0BD35C69E49D}"/>
          </ac:spMkLst>
        </pc:spChg>
        <pc:spChg chg="mod">
          <ac:chgData name="Alessio Casati (Nokia)" userId="6f050b0a-bf61-49f1-93be-076af52cf2e7" providerId="ADAL" clId="{E74F1E39-729C-4305-BDA0-1793746971E3}" dt="2023-03-02T14:41:02.396" v="141" actId="27636"/>
          <ac:spMkLst>
            <pc:docMk/>
            <pc:sldMk cId="2047454418" sldId="2146846898"/>
            <ac:spMk id="4" creationId="{CD72C33D-DF40-4601-AF02-8DFD5A6EA958}"/>
          </ac:spMkLst>
        </pc:spChg>
      </pc:sldChg>
      <pc:sldChg chg="del">
        <pc:chgData name="Alessio Casati (Nokia)" userId="6f050b0a-bf61-49f1-93be-076af52cf2e7" providerId="ADAL" clId="{E74F1E39-729C-4305-BDA0-1793746971E3}" dt="2023-03-02T14:57:14.993" v="278" actId="47"/>
        <pc:sldMkLst>
          <pc:docMk/>
          <pc:sldMk cId="406647837" sldId="2146846905"/>
        </pc:sldMkLst>
      </pc:sldChg>
      <pc:sldChg chg="del">
        <pc:chgData name="Alessio Casati (Nokia)" userId="6f050b0a-bf61-49f1-93be-076af52cf2e7" providerId="ADAL" clId="{E74F1E39-729C-4305-BDA0-1793746971E3}" dt="2023-03-02T14:57:15.970" v="279" actId="47"/>
        <pc:sldMkLst>
          <pc:docMk/>
          <pc:sldMk cId="943752710" sldId="2146846957"/>
        </pc:sldMkLst>
      </pc:sldChg>
      <pc:sldChg chg="del">
        <pc:chgData name="Alessio Casati (Nokia)" userId="6f050b0a-bf61-49f1-93be-076af52cf2e7" providerId="ADAL" clId="{E74F1E39-729C-4305-BDA0-1793746971E3}" dt="2023-03-02T14:40:44.972" v="138" actId="47"/>
        <pc:sldMkLst>
          <pc:docMk/>
          <pc:sldMk cId="2423972254" sldId="2146846958"/>
        </pc:sldMkLst>
      </pc:sldChg>
      <pc:sldChg chg="modSp add mod">
        <pc:chgData name="Alessio Casati (Nokia)" userId="6f050b0a-bf61-49f1-93be-076af52cf2e7" providerId="ADAL" clId="{E74F1E39-729C-4305-BDA0-1793746971E3}" dt="2023-03-02T14:40:39.250" v="136" actId="27636"/>
        <pc:sldMkLst>
          <pc:docMk/>
          <pc:sldMk cId="1156943905" sldId="2146846991"/>
        </pc:sldMkLst>
        <pc:spChg chg="mod">
          <ac:chgData name="Alessio Casati (Nokia)" userId="6f050b0a-bf61-49f1-93be-076af52cf2e7" providerId="ADAL" clId="{E74F1E39-729C-4305-BDA0-1793746971E3}" dt="2023-03-02T14:40:39.250" v="136" actId="27636"/>
          <ac:spMkLst>
            <pc:docMk/>
            <pc:sldMk cId="1156943905" sldId="2146846991"/>
            <ac:spMk id="4" creationId="{CD72C33D-DF40-4601-AF02-8DFD5A6EA958}"/>
          </ac:spMkLst>
        </pc:spChg>
      </pc:sldChg>
      <pc:sldChg chg="modSp add mod">
        <pc:chgData name="Alessio Casati (Nokia)" userId="6f050b0a-bf61-49f1-93be-076af52cf2e7" providerId="ADAL" clId="{E74F1E39-729C-4305-BDA0-1793746971E3}" dt="2023-03-02T14:41:15.432" v="145" actId="27636"/>
        <pc:sldMkLst>
          <pc:docMk/>
          <pc:sldMk cId="242945610" sldId="2146846992"/>
        </pc:sldMkLst>
        <pc:spChg chg="mod">
          <ac:chgData name="Alessio Casati (Nokia)" userId="6f050b0a-bf61-49f1-93be-076af52cf2e7" providerId="ADAL" clId="{E74F1E39-729C-4305-BDA0-1793746971E3}" dt="2023-03-02T14:41:15.432" v="145" actId="27636"/>
          <ac:spMkLst>
            <pc:docMk/>
            <pc:sldMk cId="242945610" sldId="2146846992"/>
            <ac:spMk id="4" creationId="{CD72C33D-DF40-4601-AF02-8DFD5A6EA958}"/>
          </ac:spMkLst>
        </pc:spChg>
      </pc:sldChg>
      <pc:sldChg chg="modSp add mod">
        <pc:chgData name="Alessio Casati (Nokia)" userId="6f050b0a-bf61-49f1-93be-076af52cf2e7" providerId="ADAL" clId="{E74F1E39-729C-4305-BDA0-1793746971E3}" dt="2023-03-02T15:05:29.341" v="374" actId="6549"/>
        <pc:sldMkLst>
          <pc:docMk/>
          <pc:sldMk cId="39548436" sldId="2146846993"/>
        </pc:sldMkLst>
        <pc:spChg chg="mod">
          <ac:chgData name="Alessio Casati (Nokia)" userId="6f050b0a-bf61-49f1-93be-076af52cf2e7" providerId="ADAL" clId="{E74F1E39-729C-4305-BDA0-1793746971E3}" dt="2023-03-02T15:05:29.341" v="374" actId="6549"/>
          <ac:spMkLst>
            <pc:docMk/>
            <pc:sldMk cId="39548436" sldId="2146846993"/>
            <ac:spMk id="5" creationId="{BCDEC535-7E3A-FE76-6A95-6077FF45D700}"/>
          </ac:spMkLst>
        </pc:spChg>
      </pc:sldChg>
      <pc:sldChg chg="modSp add mod">
        <pc:chgData name="Alessio Casati (Nokia)" userId="6f050b0a-bf61-49f1-93be-076af52cf2e7" providerId="ADAL" clId="{E74F1E39-729C-4305-BDA0-1793746971E3}" dt="2023-03-02T15:06:35.822" v="393" actId="6549"/>
        <pc:sldMkLst>
          <pc:docMk/>
          <pc:sldMk cId="1027002710" sldId="2146846994"/>
        </pc:sldMkLst>
        <pc:spChg chg="mod">
          <ac:chgData name="Alessio Casati (Nokia)" userId="6f050b0a-bf61-49f1-93be-076af52cf2e7" providerId="ADAL" clId="{E74F1E39-729C-4305-BDA0-1793746971E3}" dt="2023-03-02T15:06:35.822" v="393" actId="6549"/>
          <ac:spMkLst>
            <pc:docMk/>
            <pc:sldMk cId="1027002710" sldId="2146846994"/>
            <ac:spMk id="5" creationId="{BCDEC535-7E3A-FE76-6A95-6077FF45D700}"/>
          </ac:spMkLst>
        </pc:spChg>
      </pc:sldChg>
      <pc:sldChg chg="modSp add mod">
        <pc:chgData name="Alessio Casati (Nokia)" userId="6f050b0a-bf61-49f1-93be-076af52cf2e7" providerId="ADAL" clId="{E74F1E39-729C-4305-BDA0-1793746971E3}" dt="2023-03-02T15:06:40.541" v="394" actId="6549"/>
        <pc:sldMkLst>
          <pc:docMk/>
          <pc:sldMk cId="1201489492" sldId="2146846995"/>
        </pc:sldMkLst>
        <pc:spChg chg="mod">
          <ac:chgData name="Alessio Casati (Nokia)" userId="6f050b0a-bf61-49f1-93be-076af52cf2e7" providerId="ADAL" clId="{E74F1E39-729C-4305-BDA0-1793746971E3}" dt="2023-03-02T15:06:40.541" v="394" actId="6549"/>
          <ac:spMkLst>
            <pc:docMk/>
            <pc:sldMk cId="1201489492" sldId="2146846995"/>
            <ac:spMk id="5" creationId="{BCDEC535-7E3A-FE76-6A95-6077FF45D700}"/>
          </ac:spMkLst>
        </pc:spChg>
      </pc:sldChg>
      <pc:sldChg chg="modSp add mod">
        <pc:chgData name="Alessio Casati (Nokia)" userId="6f050b0a-bf61-49f1-93be-076af52cf2e7" providerId="ADAL" clId="{E74F1E39-729C-4305-BDA0-1793746971E3}" dt="2023-03-02T15:09:57.094" v="873" actId="5793"/>
        <pc:sldMkLst>
          <pc:docMk/>
          <pc:sldMk cId="4286170476" sldId="2146846996"/>
        </pc:sldMkLst>
        <pc:spChg chg="mod">
          <ac:chgData name="Alessio Casati (Nokia)" userId="6f050b0a-bf61-49f1-93be-076af52cf2e7" providerId="ADAL" clId="{E74F1E39-729C-4305-BDA0-1793746971E3}" dt="2023-03-02T15:09:57.094" v="873" actId="5793"/>
          <ac:spMkLst>
            <pc:docMk/>
            <pc:sldMk cId="4286170476" sldId="2146846996"/>
            <ac:spMk id="5" creationId="{BCDEC535-7E3A-FE76-6A95-6077FF45D700}"/>
          </ac:spMkLst>
        </pc:spChg>
      </pc:sldChg>
    </pc:docChg>
  </pc:docChgLst>
  <pc:docChgLst>
    <pc:chgData name="Lair, Yannick (Nokia - FR/Paris-Saclay)" userId="e0601b81-de45-4b0d-b7c3-b06e9080ce2c" providerId="ADAL" clId="{1EE38C43-17B5-47A7-BFBF-917979FBE187}"/>
    <pc:docChg chg="undo redo custSel addSld delSld modSld">
      <pc:chgData name="Lair, Yannick (Nokia - FR/Paris-Saclay)" userId="e0601b81-de45-4b0d-b7c3-b06e9080ce2c" providerId="ADAL" clId="{1EE38C43-17B5-47A7-BFBF-917979FBE187}" dt="2021-11-30T10:22:41.541" v="760" actId="948"/>
      <pc:docMkLst>
        <pc:docMk/>
      </pc:docMkLst>
      <pc:sldChg chg="modSp add mod">
        <pc:chgData name="Lair, Yannick (Nokia - FR/Paris-Saclay)" userId="e0601b81-de45-4b0d-b7c3-b06e9080ce2c" providerId="ADAL" clId="{1EE38C43-17B5-47A7-BFBF-917979FBE187}" dt="2021-11-29T14:46:58.746" v="1" actId="6549"/>
        <pc:sldMkLst>
          <pc:docMk/>
          <pc:sldMk cId="1869295210" sldId="2134805292"/>
        </pc:sldMkLst>
        <pc:spChg chg="mod">
          <ac:chgData name="Lair, Yannick (Nokia - FR/Paris-Saclay)" userId="e0601b81-de45-4b0d-b7c3-b06e9080ce2c" providerId="ADAL" clId="{1EE38C43-17B5-47A7-BFBF-917979FBE187}" dt="2021-11-29T14:46:58.746" v="1" actId="6549"/>
          <ac:spMkLst>
            <pc:docMk/>
            <pc:sldMk cId="1869295210" sldId="2134805292"/>
            <ac:spMk id="8" creationId="{04E5FA1A-2E95-4427-AA53-33B10653B072}"/>
          </ac:spMkLst>
        </pc:spChg>
      </pc:sldChg>
      <pc:sldChg chg="del">
        <pc:chgData name="Lair, Yannick (Nokia - FR/Paris-Saclay)" userId="e0601b81-de45-4b0d-b7c3-b06e9080ce2c" providerId="ADAL" clId="{1EE38C43-17B5-47A7-BFBF-917979FBE187}" dt="2021-11-29T14:47:32.597" v="2" actId="47"/>
        <pc:sldMkLst>
          <pc:docMk/>
          <pc:sldMk cId="581469788" sldId="2134805581"/>
        </pc:sldMkLst>
      </pc:sldChg>
      <pc:sldChg chg="modSp add mod">
        <pc:chgData name="Lair, Yannick (Nokia - FR/Paris-Saclay)" userId="e0601b81-de45-4b0d-b7c3-b06e9080ce2c" providerId="ADAL" clId="{1EE38C43-17B5-47A7-BFBF-917979FBE187}" dt="2021-11-29T14:55:15.270" v="298" actId="20577"/>
        <pc:sldMkLst>
          <pc:docMk/>
          <pc:sldMk cId="3917494353" sldId="2134805590"/>
        </pc:sldMkLst>
        <pc:spChg chg="mod">
          <ac:chgData name="Lair, Yannick (Nokia - FR/Paris-Saclay)" userId="e0601b81-de45-4b0d-b7c3-b06e9080ce2c" providerId="ADAL" clId="{1EE38C43-17B5-47A7-BFBF-917979FBE187}" dt="2021-11-29T14:49:09.181" v="36" actId="20577"/>
          <ac:spMkLst>
            <pc:docMk/>
            <pc:sldMk cId="3917494353" sldId="2134805590"/>
            <ac:spMk id="2" creationId="{F55F6DD9-9F73-4475-B4C0-0BD35C69E49D}"/>
          </ac:spMkLst>
        </pc:spChg>
        <pc:spChg chg="mod">
          <ac:chgData name="Lair, Yannick (Nokia - FR/Paris-Saclay)" userId="e0601b81-de45-4b0d-b7c3-b06e9080ce2c" providerId="ADAL" clId="{1EE38C43-17B5-47A7-BFBF-917979FBE187}" dt="2021-11-29T14:48:47.188" v="22" actId="21"/>
          <ac:spMkLst>
            <pc:docMk/>
            <pc:sldMk cId="3917494353" sldId="2134805590"/>
            <ac:spMk id="3" creationId="{506A8607-C5AE-48A7-9AC8-7B6F426DD14D}"/>
          </ac:spMkLst>
        </pc:spChg>
        <pc:spChg chg="mod">
          <ac:chgData name="Lair, Yannick (Nokia - FR/Paris-Saclay)" userId="e0601b81-de45-4b0d-b7c3-b06e9080ce2c" providerId="ADAL" clId="{1EE38C43-17B5-47A7-BFBF-917979FBE187}" dt="2021-11-29T14:55:15.270" v="298" actId="20577"/>
          <ac:spMkLst>
            <pc:docMk/>
            <pc:sldMk cId="3917494353" sldId="2134805590"/>
            <ac:spMk id="4" creationId="{CD72C33D-DF40-4601-AF02-8DFD5A6EA958}"/>
          </ac:spMkLst>
        </pc:spChg>
      </pc:sldChg>
      <pc:sldChg chg="modSp mod">
        <pc:chgData name="Lair, Yannick (Nokia - FR/Paris-Saclay)" userId="e0601b81-de45-4b0d-b7c3-b06e9080ce2c" providerId="ADAL" clId="{1EE38C43-17B5-47A7-BFBF-917979FBE187}" dt="2021-11-30T10:20:40.739" v="736" actId="255"/>
        <pc:sldMkLst>
          <pc:docMk/>
          <pc:sldMk cId="3917494353" sldId="2134805594"/>
        </pc:sldMkLst>
        <pc:spChg chg="mod">
          <ac:chgData name="Lair, Yannick (Nokia - FR/Paris-Saclay)" userId="e0601b81-de45-4b0d-b7c3-b06e9080ce2c" providerId="ADAL" clId="{1EE38C43-17B5-47A7-BFBF-917979FBE187}" dt="2021-11-30T08:39:28.091" v="659" actId="113"/>
          <ac:spMkLst>
            <pc:docMk/>
            <pc:sldMk cId="3917494353" sldId="2134805594"/>
            <ac:spMk id="2" creationId="{F55F6DD9-9F73-4475-B4C0-0BD35C69E49D}"/>
          </ac:spMkLst>
        </pc:spChg>
        <pc:spChg chg="mod">
          <ac:chgData name="Lair, Yannick (Nokia - FR/Paris-Saclay)" userId="e0601b81-de45-4b0d-b7c3-b06e9080ce2c" providerId="ADAL" clId="{1EE38C43-17B5-47A7-BFBF-917979FBE187}" dt="2021-11-30T10:20:40.739" v="736" actId="255"/>
          <ac:spMkLst>
            <pc:docMk/>
            <pc:sldMk cId="3917494353" sldId="2134805594"/>
            <ac:spMk id="4" creationId="{CD72C33D-DF40-4601-AF02-8DFD5A6EA958}"/>
          </ac:spMkLst>
        </pc:spChg>
        <pc:graphicFrameChg chg="modGraphic">
          <ac:chgData name="Lair, Yannick (Nokia - FR/Paris-Saclay)" userId="e0601b81-de45-4b0d-b7c3-b06e9080ce2c" providerId="ADAL" clId="{1EE38C43-17B5-47A7-BFBF-917979FBE187}" dt="2021-11-30T08:44:00.592" v="681" actId="20577"/>
          <ac:graphicFrameMkLst>
            <pc:docMk/>
            <pc:sldMk cId="3917494353" sldId="2134805594"/>
            <ac:graphicFrameMk id="5" creationId="{147F1A6A-0E16-4C84-8E82-5039900CDD75}"/>
          </ac:graphicFrameMkLst>
        </pc:graphicFrameChg>
      </pc:sldChg>
      <pc:sldChg chg="modSp add mod">
        <pc:chgData name="Lair, Yannick (Nokia - FR/Paris-Saclay)" userId="e0601b81-de45-4b0d-b7c3-b06e9080ce2c" providerId="ADAL" clId="{1EE38C43-17B5-47A7-BFBF-917979FBE187}" dt="2021-11-30T10:22:41.541" v="760" actId="948"/>
        <pc:sldMkLst>
          <pc:docMk/>
          <pc:sldMk cId="3007859491" sldId="2134805595"/>
        </pc:sldMkLst>
        <pc:spChg chg="mod">
          <ac:chgData name="Lair, Yannick (Nokia - FR/Paris-Saclay)" userId="e0601b81-de45-4b0d-b7c3-b06e9080ce2c" providerId="ADAL" clId="{1EE38C43-17B5-47A7-BFBF-917979FBE187}" dt="2021-11-30T08:39:43.266" v="662" actId="113"/>
          <ac:spMkLst>
            <pc:docMk/>
            <pc:sldMk cId="3007859491" sldId="2134805595"/>
            <ac:spMk id="2" creationId="{F55F6DD9-9F73-4475-B4C0-0BD35C69E49D}"/>
          </ac:spMkLst>
        </pc:spChg>
        <pc:spChg chg="mod">
          <ac:chgData name="Lair, Yannick (Nokia - FR/Paris-Saclay)" userId="e0601b81-de45-4b0d-b7c3-b06e9080ce2c" providerId="ADAL" clId="{1EE38C43-17B5-47A7-BFBF-917979FBE187}" dt="2021-11-29T15:01:26.016" v="332" actId="20577"/>
          <ac:spMkLst>
            <pc:docMk/>
            <pc:sldMk cId="3007859491" sldId="2134805595"/>
            <ac:spMk id="3" creationId="{506A8607-C5AE-48A7-9AC8-7B6F426DD14D}"/>
          </ac:spMkLst>
        </pc:spChg>
        <pc:spChg chg="mod">
          <ac:chgData name="Lair, Yannick (Nokia - FR/Paris-Saclay)" userId="e0601b81-de45-4b0d-b7c3-b06e9080ce2c" providerId="ADAL" clId="{1EE38C43-17B5-47A7-BFBF-917979FBE187}" dt="2021-11-30T10:22:41.541" v="760" actId="948"/>
          <ac:spMkLst>
            <pc:docMk/>
            <pc:sldMk cId="3007859491" sldId="2134805595"/>
            <ac:spMk id="4" creationId="{CD72C33D-DF40-4601-AF02-8DFD5A6EA958}"/>
          </ac:spMkLst>
        </pc:spChg>
        <pc:graphicFrameChg chg="modGraphic">
          <ac:chgData name="Lair, Yannick (Nokia - FR/Paris-Saclay)" userId="e0601b81-de45-4b0d-b7c3-b06e9080ce2c" providerId="ADAL" clId="{1EE38C43-17B5-47A7-BFBF-917979FBE187}" dt="2021-11-30T08:43:56.061" v="680" actId="20577"/>
          <ac:graphicFrameMkLst>
            <pc:docMk/>
            <pc:sldMk cId="3007859491" sldId="2134805595"/>
            <ac:graphicFrameMk id="5" creationId="{147F1A6A-0E16-4C84-8E82-5039900CDD75}"/>
          </ac:graphicFrameMkLst>
        </pc:graphicFrameChg>
      </pc:sldChg>
    </pc:docChg>
  </pc:docChgLst>
  <pc:docChgLst>
    <pc:chgData name="Gupta, Pallab (Nokia - IN/Bangalore)" userId="2373e1e1-8f73-46a5-bf2c-89beccfccabe" providerId="ADAL" clId="{0B22DE39-5616-4F0F-A366-D70FDE9AD925}"/>
    <pc:docChg chg="addSld delSld modSld">
      <pc:chgData name="Gupta, Pallab (Nokia - IN/Bangalore)" userId="2373e1e1-8f73-46a5-bf2c-89beccfccabe" providerId="ADAL" clId="{0B22DE39-5616-4F0F-A366-D70FDE9AD925}" dt="2021-11-26T09:41:26.795" v="3"/>
      <pc:docMkLst>
        <pc:docMk/>
      </pc:docMkLst>
      <pc:sldChg chg="del">
        <pc:chgData name="Gupta, Pallab (Nokia - IN/Bangalore)" userId="2373e1e1-8f73-46a5-bf2c-89beccfccabe" providerId="ADAL" clId="{0B22DE39-5616-4F0F-A366-D70FDE9AD925}" dt="2021-11-26T09:00:13.236" v="1" actId="47"/>
        <pc:sldMkLst>
          <pc:docMk/>
          <pc:sldMk cId="4176047577" sldId="2134805379"/>
        </pc:sldMkLst>
      </pc:sldChg>
      <pc:sldChg chg="del">
        <pc:chgData name="Gupta, Pallab (Nokia - IN/Bangalore)" userId="2373e1e1-8f73-46a5-bf2c-89beccfccabe" providerId="ADAL" clId="{0B22DE39-5616-4F0F-A366-D70FDE9AD925}" dt="2021-11-26T09:00:16.928" v="2" actId="47"/>
        <pc:sldMkLst>
          <pc:docMk/>
          <pc:sldMk cId="1706274098" sldId="2134805453"/>
        </pc:sldMkLst>
      </pc:sldChg>
      <pc:sldChg chg="add">
        <pc:chgData name="Gupta, Pallab (Nokia - IN/Bangalore)" userId="2373e1e1-8f73-46a5-bf2c-89beccfccabe" providerId="ADAL" clId="{0B22DE39-5616-4F0F-A366-D70FDE9AD925}" dt="2021-11-26T09:00:09.813" v="0"/>
        <pc:sldMkLst>
          <pc:docMk/>
          <pc:sldMk cId="756066735" sldId="2134805543"/>
        </pc:sldMkLst>
      </pc:sldChg>
      <pc:sldChg chg="add">
        <pc:chgData name="Gupta, Pallab (Nokia - IN/Bangalore)" userId="2373e1e1-8f73-46a5-bf2c-89beccfccabe" providerId="ADAL" clId="{0B22DE39-5616-4F0F-A366-D70FDE9AD925}" dt="2021-11-26T09:00:09.813" v="0"/>
        <pc:sldMkLst>
          <pc:docMk/>
          <pc:sldMk cId="842595936" sldId="2134805559"/>
        </pc:sldMkLst>
      </pc:sldChg>
      <pc:sldChg chg="add">
        <pc:chgData name="Gupta, Pallab (Nokia - IN/Bangalore)" userId="2373e1e1-8f73-46a5-bf2c-89beccfccabe" providerId="ADAL" clId="{0B22DE39-5616-4F0F-A366-D70FDE9AD925}" dt="2021-11-26T09:00:09.813" v="0"/>
        <pc:sldMkLst>
          <pc:docMk/>
          <pc:sldMk cId="181087870" sldId="2134805560"/>
        </pc:sldMkLst>
      </pc:sldChg>
      <pc:sldChg chg="add">
        <pc:chgData name="Gupta, Pallab (Nokia - IN/Bangalore)" userId="2373e1e1-8f73-46a5-bf2c-89beccfccabe" providerId="ADAL" clId="{0B22DE39-5616-4F0F-A366-D70FDE9AD925}" dt="2021-11-26T09:41:26.795" v="3"/>
        <pc:sldMkLst>
          <pc:docMk/>
          <pc:sldMk cId="938167764" sldId="2134805561"/>
        </pc:sldMkLst>
      </pc:sldChg>
      <pc:sldChg chg="add">
        <pc:chgData name="Gupta, Pallab (Nokia - IN/Bangalore)" userId="2373e1e1-8f73-46a5-bf2c-89beccfccabe" providerId="ADAL" clId="{0B22DE39-5616-4F0F-A366-D70FDE9AD925}" dt="2021-11-26T09:41:26.795" v="3"/>
        <pc:sldMkLst>
          <pc:docMk/>
          <pc:sldMk cId="493328577" sldId="2134805562"/>
        </pc:sldMkLst>
      </pc:sldChg>
      <pc:sldChg chg="add">
        <pc:chgData name="Gupta, Pallab (Nokia - IN/Bangalore)" userId="2373e1e1-8f73-46a5-bf2c-89beccfccabe" providerId="ADAL" clId="{0B22DE39-5616-4F0F-A366-D70FDE9AD925}" dt="2021-11-26T09:41:26.795" v="3"/>
        <pc:sldMkLst>
          <pc:docMk/>
          <pc:sldMk cId="2552578504" sldId="2134805563"/>
        </pc:sldMkLst>
      </pc:sldChg>
    </pc:docChg>
  </pc:docChgLst>
  <pc:docChgLst>
    <pc:chgData name="Belling, Thomas (Nokia - DE/Munich)" userId="S::thomas.belling@nokia.com::38e53bf5-7a59-41ec-8bf1-bf611b810166" providerId="AD" clId="Web-{0E1C2A51-5039-F3CE-CDCF-017F83AFBA51}"/>
    <pc:docChg chg="modSld">
      <pc:chgData name="Belling, Thomas (Nokia - DE/Munich)" userId="S::thomas.belling@nokia.com::38e53bf5-7a59-41ec-8bf1-bf611b810166" providerId="AD" clId="Web-{0E1C2A51-5039-F3CE-CDCF-017F83AFBA51}" dt="2020-04-30T22:19:44.141" v="243" actId="20577"/>
      <pc:docMkLst>
        <pc:docMk/>
      </pc:docMkLst>
      <pc:sldChg chg="addSp delSp modSp">
        <pc:chgData name="Belling, Thomas (Nokia - DE/Munich)" userId="S::thomas.belling@nokia.com::38e53bf5-7a59-41ec-8bf1-bf611b810166" providerId="AD" clId="Web-{0E1C2A51-5039-F3CE-CDCF-017F83AFBA51}" dt="2020-04-30T22:19:44.141" v="243" actId="20577"/>
        <pc:sldMkLst>
          <pc:docMk/>
          <pc:sldMk cId="298917606" sldId="301"/>
        </pc:sldMkLst>
        <pc:spChg chg="mod">
          <ac:chgData name="Belling, Thomas (Nokia - DE/Munich)" userId="S::thomas.belling@nokia.com::38e53bf5-7a59-41ec-8bf1-bf611b810166" providerId="AD" clId="Web-{0E1C2A51-5039-F3CE-CDCF-017F83AFBA51}" dt="2020-04-30T22:19:44.141" v="243" actId="20577"/>
          <ac:spMkLst>
            <pc:docMk/>
            <pc:sldMk cId="298917606" sldId="301"/>
            <ac:spMk id="5" creationId="{A560F786-3A6C-41F0-99EF-DFF4DE7F777C}"/>
          </ac:spMkLst>
        </pc:spChg>
        <pc:spChg chg="add del mod">
          <ac:chgData name="Belling, Thomas (Nokia - DE/Munich)" userId="S::thomas.belling@nokia.com::38e53bf5-7a59-41ec-8bf1-bf611b810166" providerId="AD" clId="Web-{0E1C2A51-5039-F3CE-CDCF-017F83AFBA51}" dt="2020-04-30T22:19:38.469" v="123"/>
          <ac:spMkLst>
            <pc:docMk/>
            <pc:sldMk cId="298917606" sldId="301"/>
            <ac:spMk id="8" creationId="{236C085E-5A6A-4046-95E3-039E308B4587}"/>
          </ac:spMkLst>
        </pc:spChg>
        <pc:graphicFrameChg chg="add del mod">
          <ac:chgData name="Belling, Thomas (Nokia - DE/Munich)" userId="S::thomas.belling@nokia.com::38e53bf5-7a59-41ec-8bf1-bf611b810166" providerId="AD" clId="Web-{0E1C2A51-5039-F3CE-CDCF-017F83AFBA51}" dt="2020-04-30T22:19:38.469" v="124"/>
          <ac:graphicFrameMkLst>
            <pc:docMk/>
            <pc:sldMk cId="298917606" sldId="301"/>
            <ac:graphicFrameMk id="7" creationId="{B14BAC3C-9A81-4994-A73C-55B7EB183021}"/>
          </ac:graphicFrameMkLst>
        </pc:graphicFrameChg>
      </pc:sldChg>
    </pc:docChg>
  </pc:docChgLst>
  <pc:docChgLst>
    <pc:chgData name="Lair, Yannick (Nokia - FR/Paris-Saclay)" userId="e0601b81-de45-4b0d-b7c3-b06e9080ce2c" providerId="ADAL" clId="{DFA88524-0CF3-4E97-8E86-47B0BF5186FC}"/>
    <pc:docChg chg="undo redo custSel addSld modSld sldOrd">
      <pc:chgData name="Lair, Yannick (Nokia - FR/Paris-Saclay)" userId="e0601b81-de45-4b0d-b7c3-b06e9080ce2c" providerId="ADAL" clId="{DFA88524-0CF3-4E97-8E86-47B0BF5186FC}" dt="2020-03-06T17:14:19.597" v="407" actId="15"/>
      <pc:docMkLst>
        <pc:docMk/>
      </pc:docMkLst>
      <pc:sldChg chg="addSp delSp modSp">
        <pc:chgData name="Lair, Yannick (Nokia - FR/Paris-Saclay)" userId="e0601b81-de45-4b0d-b7c3-b06e9080ce2c" providerId="ADAL" clId="{DFA88524-0CF3-4E97-8E86-47B0BF5186FC}" dt="2020-03-06T17:13:27.105" v="400" actId="20577"/>
        <pc:sldMkLst>
          <pc:docMk/>
          <pc:sldMk cId="3072010189" sldId="284"/>
        </pc:sldMkLst>
        <pc:spChg chg="mod">
          <ac:chgData name="Lair, Yannick (Nokia - FR/Paris-Saclay)" userId="e0601b81-de45-4b0d-b7c3-b06e9080ce2c" providerId="ADAL" clId="{DFA88524-0CF3-4E97-8E86-47B0BF5186FC}" dt="2020-03-06T16:56:17.183" v="237" actId="20577"/>
          <ac:spMkLst>
            <pc:docMk/>
            <pc:sldMk cId="3072010189" sldId="284"/>
            <ac:spMk id="3" creationId="{5B84A4F0-57DA-4FC9-AEAC-815E3FF90221}"/>
          </ac:spMkLst>
        </pc:spChg>
        <pc:spChg chg="mod">
          <ac:chgData name="Lair, Yannick (Nokia - FR/Paris-Saclay)" userId="e0601b81-de45-4b0d-b7c3-b06e9080ce2c" providerId="ADAL" clId="{DFA88524-0CF3-4E97-8E86-47B0BF5186FC}" dt="2020-03-06T17:13:27.105" v="400" actId="20577"/>
          <ac:spMkLst>
            <pc:docMk/>
            <pc:sldMk cId="3072010189" sldId="284"/>
            <ac:spMk id="5" creationId="{A560F786-3A6C-41F0-99EF-DFF4DE7F777C}"/>
          </ac:spMkLst>
        </pc:spChg>
        <pc:spChg chg="add del">
          <ac:chgData name="Lair, Yannick (Nokia - FR/Paris-Saclay)" userId="e0601b81-de45-4b0d-b7c3-b06e9080ce2c" providerId="ADAL" clId="{DFA88524-0CF3-4E97-8E86-47B0BF5186FC}" dt="2020-03-06T17:11:16.780" v="369"/>
          <ac:spMkLst>
            <pc:docMk/>
            <pc:sldMk cId="3072010189" sldId="284"/>
            <ac:spMk id="6" creationId="{D4776DAD-B388-44C5-8BC9-626271294750}"/>
          </ac:spMkLst>
        </pc:spChg>
      </pc:sldChg>
      <pc:sldChg chg="modSp">
        <pc:chgData name="Lair, Yannick (Nokia - FR/Paris-Saclay)" userId="e0601b81-de45-4b0d-b7c3-b06e9080ce2c" providerId="ADAL" clId="{DFA88524-0CF3-4E97-8E86-47B0BF5186FC}" dt="2020-03-05T17:57:13.335" v="222" actId="12"/>
        <pc:sldMkLst>
          <pc:docMk/>
          <pc:sldMk cId="2244628399" sldId="285"/>
        </pc:sldMkLst>
        <pc:spChg chg="mod">
          <ac:chgData name="Lair, Yannick (Nokia - FR/Paris-Saclay)" userId="e0601b81-de45-4b0d-b7c3-b06e9080ce2c" providerId="ADAL" clId="{DFA88524-0CF3-4E97-8E86-47B0BF5186FC}" dt="2020-03-05T17:57:13.335" v="222" actId="12"/>
          <ac:spMkLst>
            <pc:docMk/>
            <pc:sldMk cId="2244628399" sldId="285"/>
            <ac:spMk id="5" creationId="{A560F786-3A6C-41F0-99EF-DFF4DE7F777C}"/>
          </ac:spMkLst>
        </pc:spChg>
      </pc:sldChg>
      <pc:sldChg chg="modSp add ord">
        <pc:chgData name="Lair, Yannick (Nokia - FR/Paris-Saclay)" userId="e0601b81-de45-4b0d-b7c3-b06e9080ce2c" providerId="ADAL" clId="{DFA88524-0CF3-4E97-8E86-47B0BF5186FC}" dt="2020-03-06T17:07:47.569" v="258" actId="27636"/>
        <pc:sldMkLst>
          <pc:docMk/>
          <pc:sldMk cId="3922117623" sldId="315"/>
        </pc:sldMkLst>
        <pc:spChg chg="mod">
          <ac:chgData name="Lair, Yannick (Nokia - FR/Paris-Saclay)" userId="e0601b81-de45-4b0d-b7c3-b06e9080ce2c" providerId="ADAL" clId="{DFA88524-0CF3-4E97-8E86-47B0BF5186FC}" dt="2020-03-06T17:07:47.569" v="258" actId="27636"/>
          <ac:spMkLst>
            <pc:docMk/>
            <pc:sldMk cId="3922117623" sldId="315"/>
            <ac:spMk id="5" creationId="{A560F786-3A6C-41F0-99EF-DFF4DE7F777C}"/>
          </ac:spMkLst>
        </pc:spChg>
      </pc:sldChg>
    </pc:docChg>
  </pc:docChgLst>
  <pc:docChgLst>
    <pc:chgData name="Belling, Thomas (Nokia - DE/Munich)" userId="S::thomas.belling@nokia.com::38e53bf5-7a59-41ec-8bf1-bf611b810166" providerId="AD" clId="Web-{4EB36722-D0BF-9159-25B8-8B9CCA4BE75E}"/>
    <pc:docChg chg="addSld modSld">
      <pc:chgData name="Belling, Thomas (Nokia - DE/Munich)" userId="S::thomas.belling@nokia.com::38e53bf5-7a59-41ec-8bf1-bf611b810166" providerId="AD" clId="Web-{4EB36722-D0BF-9159-25B8-8B9CCA4BE75E}" dt="2020-03-05T19:07:20.945" v="666" actId="20577"/>
      <pc:docMkLst>
        <pc:docMk/>
      </pc:docMkLst>
      <pc:sldChg chg="modSp">
        <pc:chgData name="Belling, Thomas (Nokia - DE/Munich)" userId="S::thomas.belling@nokia.com::38e53bf5-7a59-41ec-8bf1-bf611b810166" providerId="AD" clId="Web-{4EB36722-D0BF-9159-25B8-8B9CCA4BE75E}" dt="2020-03-05T19:07:10.570" v="642" actId="20577"/>
        <pc:sldMkLst>
          <pc:docMk/>
          <pc:sldMk cId="8711352" sldId="298"/>
        </pc:sldMkLst>
        <pc:spChg chg="mod">
          <ac:chgData name="Belling, Thomas (Nokia - DE/Munich)" userId="S::thomas.belling@nokia.com::38e53bf5-7a59-41ec-8bf1-bf611b810166" providerId="AD" clId="Web-{4EB36722-D0BF-9159-25B8-8B9CCA4BE75E}" dt="2020-03-05T19:07:10.570" v="642" actId="20577"/>
          <ac:spMkLst>
            <pc:docMk/>
            <pc:sldMk cId="8711352" sldId="298"/>
            <ac:spMk id="5" creationId="{A560F786-3A6C-41F0-99EF-DFF4DE7F777C}"/>
          </ac:spMkLst>
        </pc:spChg>
      </pc:sldChg>
      <pc:sldChg chg="modSp">
        <pc:chgData name="Belling, Thomas (Nokia - DE/Munich)" userId="S::thomas.belling@nokia.com::38e53bf5-7a59-41ec-8bf1-bf611b810166" providerId="AD" clId="Web-{4EB36722-D0BF-9159-25B8-8B9CCA4BE75E}" dt="2020-03-05T18:45:06.253" v="405" actId="20577"/>
        <pc:sldMkLst>
          <pc:docMk/>
          <pc:sldMk cId="1124374886" sldId="302"/>
        </pc:sldMkLst>
        <pc:spChg chg="mod">
          <ac:chgData name="Belling, Thomas (Nokia - DE/Munich)" userId="S::thomas.belling@nokia.com::38e53bf5-7a59-41ec-8bf1-bf611b810166" providerId="AD" clId="Web-{4EB36722-D0BF-9159-25B8-8B9CCA4BE75E}" dt="2020-03-05T18:45:06.253" v="405" actId="20577"/>
          <ac:spMkLst>
            <pc:docMk/>
            <pc:sldMk cId="1124374886" sldId="302"/>
            <ac:spMk id="4" creationId="{BDC7D266-0891-4430-9759-534065AEEEF3}"/>
          </ac:spMkLst>
        </pc:spChg>
        <pc:spChg chg="mod">
          <ac:chgData name="Belling, Thomas (Nokia - DE/Munich)" userId="S::thomas.belling@nokia.com::38e53bf5-7a59-41ec-8bf1-bf611b810166" providerId="AD" clId="Web-{4EB36722-D0BF-9159-25B8-8B9CCA4BE75E}" dt="2020-03-05T18:39:46.533" v="275" actId="20577"/>
          <ac:spMkLst>
            <pc:docMk/>
            <pc:sldMk cId="1124374886" sldId="302"/>
            <ac:spMk id="5" creationId="{A560F786-3A6C-41F0-99EF-DFF4DE7F777C}"/>
          </ac:spMkLst>
        </pc:spChg>
      </pc:sldChg>
      <pc:sldChg chg="modSp">
        <pc:chgData name="Belling, Thomas (Nokia - DE/Munich)" userId="S::thomas.belling@nokia.com::38e53bf5-7a59-41ec-8bf1-bf611b810166" providerId="AD" clId="Web-{4EB36722-D0BF-9159-25B8-8B9CCA4BE75E}" dt="2020-03-05T18:46:47.831" v="432" actId="20577"/>
        <pc:sldMkLst>
          <pc:docMk/>
          <pc:sldMk cId="20773976" sldId="303"/>
        </pc:sldMkLst>
        <pc:spChg chg="mod">
          <ac:chgData name="Belling, Thomas (Nokia - DE/Munich)" userId="S::thomas.belling@nokia.com::38e53bf5-7a59-41ec-8bf1-bf611b810166" providerId="AD" clId="Web-{4EB36722-D0BF-9159-25B8-8B9CCA4BE75E}" dt="2020-03-05T18:46:47.831" v="432" actId="20577"/>
          <ac:spMkLst>
            <pc:docMk/>
            <pc:sldMk cId="20773976" sldId="303"/>
            <ac:spMk id="5" creationId="{A560F786-3A6C-41F0-99EF-DFF4DE7F777C}"/>
          </ac:spMkLst>
        </pc:spChg>
      </pc:sldChg>
      <pc:sldChg chg="modSp">
        <pc:chgData name="Belling, Thomas (Nokia - DE/Munich)" userId="S::thomas.belling@nokia.com::38e53bf5-7a59-41ec-8bf1-bf611b810166" providerId="AD" clId="Web-{4EB36722-D0BF-9159-25B8-8B9CCA4BE75E}" dt="2020-03-05T18:46:51.425" v="436" actId="20577"/>
        <pc:sldMkLst>
          <pc:docMk/>
          <pc:sldMk cId="62257519" sldId="304"/>
        </pc:sldMkLst>
        <pc:spChg chg="mod">
          <ac:chgData name="Belling, Thomas (Nokia - DE/Munich)" userId="S::thomas.belling@nokia.com::38e53bf5-7a59-41ec-8bf1-bf611b810166" providerId="AD" clId="Web-{4EB36722-D0BF-9159-25B8-8B9CCA4BE75E}" dt="2020-03-05T18:46:51.425" v="436" actId="20577"/>
          <ac:spMkLst>
            <pc:docMk/>
            <pc:sldMk cId="62257519" sldId="304"/>
            <ac:spMk id="5" creationId="{A560F786-3A6C-41F0-99EF-DFF4DE7F777C}"/>
          </ac:spMkLst>
        </pc:spChg>
      </pc:sldChg>
      <pc:sldChg chg="modSp">
        <pc:chgData name="Belling, Thomas (Nokia - DE/Munich)" userId="S::thomas.belling@nokia.com::38e53bf5-7a59-41ec-8bf1-bf611b810166" providerId="AD" clId="Web-{4EB36722-D0BF-9159-25B8-8B9CCA4BE75E}" dt="2020-03-05T18:47:19.941" v="442" actId="20577"/>
        <pc:sldMkLst>
          <pc:docMk/>
          <pc:sldMk cId="3180151841" sldId="305"/>
        </pc:sldMkLst>
        <pc:spChg chg="mod">
          <ac:chgData name="Belling, Thomas (Nokia - DE/Munich)" userId="S::thomas.belling@nokia.com::38e53bf5-7a59-41ec-8bf1-bf611b810166" providerId="AD" clId="Web-{4EB36722-D0BF-9159-25B8-8B9CCA4BE75E}" dt="2020-03-05T18:47:19.941" v="442" actId="20577"/>
          <ac:spMkLst>
            <pc:docMk/>
            <pc:sldMk cId="3180151841" sldId="305"/>
            <ac:spMk id="5" creationId="{A560F786-3A6C-41F0-99EF-DFF4DE7F777C}"/>
          </ac:spMkLst>
        </pc:spChg>
      </pc:sldChg>
      <pc:sldChg chg="modSp add replId">
        <pc:chgData name="Belling, Thomas (Nokia - DE/Munich)" userId="S::thomas.belling@nokia.com::38e53bf5-7a59-41ec-8bf1-bf611b810166" providerId="AD" clId="Web-{4EB36722-D0BF-9159-25B8-8B9CCA4BE75E}" dt="2020-03-05T19:07:20.945" v="665" actId="20577"/>
        <pc:sldMkLst>
          <pc:docMk/>
          <pc:sldMk cId="1631595811" sldId="317"/>
        </pc:sldMkLst>
        <pc:spChg chg="mod">
          <ac:chgData name="Belling, Thomas (Nokia - DE/Munich)" userId="S::thomas.belling@nokia.com::38e53bf5-7a59-41ec-8bf1-bf611b810166" providerId="AD" clId="Web-{4EB36722-D0BF-9159-25B8-8B9CCA4BE75E}" dt="2020-03-05T19:07:20.945" v="665" actId="20577"/>
          <ac:spMkLst>
            <pc:docMk/>
            <pc:sldMk cId="1631595811" sldId="317"/>
            <ac:spMk id="5" creationId="{A560F786-3A6C-41F0-99EF-DFF4DE7F777C}"/>
          </ac:spMkLst>
        </pc:spChg>
      </pc:sldChg>
    </pc:docChg>
  </pc:docChgLst>
  <pc:docChgLst>
    <pc:chgData name="Casati, Alessio (Nokia - GB)" userId="6f050b0a-bf61-49f1-93be-076af52cf2e7" providerId="ADAL" clId="{7B1012B3-5548-4F9F-9912-F4F6BA54D8DF}"/>
    <pc:docChg chg="undo custSel addSld delSld modSld sldOrd">
      <pc:chgData name="Casati, Alessio (Nokia - GB)" userId="6f050b0a-bf61-49f1-93be-076af52cf2e7" providerId="ADAL" clId="{7B1012B3-5548-4F9F-9912-F4F6BA54D8DF}" dt="2020-03-11T11:31:49.818" v="787" actId="108"/>
      <pc:docMkLst>
        <pc:docMk/>
      </pc:docMkLst>
      <pc:sldChg chg="modSp">
        <pc:chgData name="Casati, Alessio (Nokia - GB)" userId="6f050b0a-bf61-49f1-93be-076af52cf2e7" providerId="ADAL" clId="{7B1012B3-5548-4F9F-9912-F4F6BA54D8DF}" dt="2020-03-11T10:20:50.398" v="305" actId="6549"/>
        <pc:sldMkLst>
          <pc:docMk/>
          <pc:sldMk cId="4155464073" sldId="286"/>
        </pc:sldMkLst>
        <pc:spChg chg="mod">
          <ac:chgData name="Casati, Alessio (Nokia - GB)" userId="6f050b0a-bf61-49f1-93be-076af52cf2e7" providerId="ADAL" clId="{7B1012B3-5548-4F9F-9912-F4F6BA54D8DF}" dt="2020-03-11T10:07:24.854" v="29" actId="20577"/>
          <ac:spMkLst>
            <pc:docMk/>
            <pc:sldMk cId="4155464073" sldId="286"/>
            <ac:spMk id="3" creationId="{5B84A4F0-57DA-4FC9-AEAC-815E3FF90221}"/>
          </ac:spMkLst>
        </pc:spChg>
        <pc:spChg chg="mod">
          <ac:chgData name="Casati, Alessio (Nokia - GB)" userId="6f050b0a-bf61-49f1-93be-076af52cf2e7" providerId="ADAL" clId="{7B1012B3-5548-4F9F-9912-F4F6BA54D8DF}" dt="2020-03-11T10:20:50.398" v="305" actId="6549"/>
          <ac:spMkLst>
            <pc:docMk/>
            <pc:sldMk cId="4155464073" sldId="286"/>
            <ac:spMk id="5" creationId="{A560F786-3A6C-41F0-99EF-DFF4DE7F777C}"/>
          </ac:spMkLst>
        </pc:spChg>
      </pc:sldChg>
      <pc:sldChg chg="addSp delSp modSp">
        <pc:chgData name="Casati, Alessio (Nokia - GB)" userId="6f050b0a-bf61-49f1-93be-076af52cf2e7" providerId="ADAL" clId="{7B1012B3-5548-4F9F-9912-F4F6BA54D8DF}" dt="2020-03-11T10:54:37.408" v="753" actId="6549"/>
        <pc:sldMkLst>
          <pc:docMk/>
          <pc:sldMk cId="1499451625" sldId="299"/>
        </pc:sldMkLst>
        <pc:spChg chg="mod">
          <ac:chgData name="Casati, Alessio (Nokia - GB)" userId="6f050b0a-bf61-49f1-93be-076af52cf2e7" providerId="ADAL" clId="{7B1012B3-5548-4F9F-9912-F4F6BA54D8DF}" dt="2020-03-11T10:54:13.236" v="752"/>
          <ac:spMkLst>
            <pc:docMk/>
            <pc:sldMk cId="1499451625" sldId="299"/>
            <ac:spMk id="3" creationId="{5B84A4F0-57DA-4FC9-AEAC-815E3FF90221}"/>
          </ac:spMkLst>
        </pc:spChg>
        <pc:spChg chg="mod">
          <ac:chgData name="Casati, Alessio (Nokia - GB)" userId="6f050b0a-bf61-49f1-93be-076af52cf2e7" providerId="ADAL" clId="{7B1012B3-5548-4F9F-9912-F4F6BA54D8DF}" dt="2020-03-11T10:54:37.408" v="753" actId="6549"/>
          <ac:spMkLst>
            <pc:docMk/>
            <pc:sldMk cId="1499451625" sldId="299"/>
            <ac:spMk id="5" creationId="{A560F786-3A6C-41F0-99EF-DFF4DE7F777C}"/>
          </ac:spMkLst>
        </pc:spChg>
        <pc:graphicFrameChg chg="add del mod modGraphic">
          <ac:chgData name="Casati, Alessio (Nokia - GB)" userId="6f050b0a-bf61-49f1-93be-076af52cf2e7" providerId="ADAL" clId="{7B1012B3-5548-4F9F-9912-F4F6BA54D8DF}" dt="2020-03-11T10:26:20.646" v="497" actId="478"/>
          <ac:graphicFrameMkLst>
            <pc:docMk/>
            <pc:sldMk cId="1499451625" sldId="299"/>
            <ac:graphicFrameMk id="6" creationId="{37071CDB-F670-49F9-8995-C2B271565667}"/>
          </ac:graphicFrameMkLst>
        </pc:graphicFrameChg>
      </pc:sldChg>
      <pc:sldChg chg="modSp">
        <pc:chgData name="Casati, Alessio (Nokia - GB)" userId="6f050b0a-bf61-49f1-93be-076af52cf2e7" providerId="ADAL" clId="{7B1012B3-5548-4F9F-9912-F4F6BA54D8DF}" dt="2020-03-11T10:31:32.300" v="751" actId="20577"/>
        <pc:sldMkLst>
          <pc:docMk/>
          <pc:sldMk cId="4180799600" sldId="300"/>
        </pc:sldMkLst>
        <pc:spChg chg="mod">
          <ac:chgData name="Casati, Alessio (Nokia - GB)" userId="6f050b0a-bf61-49f1-93be-076af52cf2e7" providerId="ADAL" clId="{7B1012B3-5548-4F9F-9912-F4F6BA54D8DF}" dt="2020-03-11T10:31:32.300" v="751" actId="20577"/>
          <ac:spMkLst>
            <pc:docMk/>
            <pc:sldMk cId="4180799600" sldId="300"/>
            <ac:spMk id="5" creationId="{A560F786-3A6C-41F0-99EF-DFF4DE7F777C}"/>
          </ac:spMkLst>
        </pc:spChg>
      </pc:sldChg>
    </pc:docChg>
  </pc:docChgLst>
  <pc:docChgLst>
    <pc:chgData name="Chandramouli, Devaki (Nokia - US/Dallas)" userId="S::devaki.chandramouli@nokia.com::ebf2a9f8-651b-4485-926f-9d93c0eafbc5" providerId="AD" clId="Web-{169A08C4-153B-4CBC-A084-9DD63182F801}"/>
    <pc:docChg chg="modSld">
      <pc:chgData name="Chandramouli, Devaki (Nokia - US/Dallas)" userId="S::devaki.chandramouli@nokia.com::ebf2a9f8-651b-4485-926f-9d93c0eafbc5" providerId="AD" clId="Web-{169A08C4-153B-4CBC-A084-9DD63182F801}" dt="2022-09-09T11:00:40.490" v="18" actId="20577"/>
      <pc:docMkLst>
        <pc:docMk/>
      </pc:docMkLst>
      <pc:sldChg chg="modSp">
        <pc:chgData name="Chandramouli, Devaki (Nokia - US/Dallas)" userId="S::devaki.chandramouli@nokia.com::ebf2a9f8-651b-4485-926f-9d93c0eafbc5" providerId="AD" clId="Web-{169A08C4-153B-4CBC-A084-9DD63182F801}" dt="2022-09-09T11:00:40.490" v="18" actId="20577"/>
        <pc:sldMkLst>
          <pc:docMk/>
          <pc:sldMk cId="1806586001" sldId="2134805614"/>
        </pc:sldMkLst>
        <pc:spChg chg="mod">
          <ac:chgData name="Chandramouli, Devaki (Nokia - US/Dallas)" userId="S::devaki.chandramouli@nokia.com::ebf2a9f8-651b-4485-926f-9d93c0eafbc5" providerId="AD" clId="Web-{169A08C4-153B-4CBC-A084-9DD63182F801}" dt="2022-09-09T11:00:40.490" v="18" actId="20577"/>
          <ac:spMkLst>
            <pc:docMk/>
            <pc:sldMk cId="1806586001" sldId="2134805614"/>
            <ac:spMk id="4" creationId="{FD9B9349-5219-4A4E-8125-7E6F849D4C07}"/>
          </ac:spMkLst>
        </pc:spChg>
      </pc:sldChg>
    </pc:docChg>
  </pc:docChgLst>
  <pc:docChgLst>
    <pc:chgData name="Liebhart, Rainer (Nokia - DE/Munich)" userId="9d27e965-bed7-441e-8c07-02c758a9258d" providerId="ADAL" clId="{ED2E285D-EC8F-4260-9AB7-54A6BE976FF8}"/>
    <pc:docChg chg="undo redo custSel delSld modSld">
      <pc:chgData name="Liebhart, Rainer (Nokia - DE/Munich)" userId="9d27e965-bed7-441e-8c07-02c758a9258d" providerId="ADAL" clId="{ED2E285D-EC8F-4260-9AB7-54A6BE976FF8}" dt="2022-06-13T07:33:41.747" v="2441" actId="20577"/>
      <pc:docMkLst>
        <pc:docMk/>
      </pc:docMkLst>
      <pc:sldChg chg="modSp mod">
        <pc:chgData name="Liebhart, Rainer (Nokia - DE/Munich)" userId="9d27e965-bed7-441e-8c07-02c758a9258d" providerId="ADAL" clId="{ED2E285D-EC8F-4260-9AB7-54A6BE976FF8}" dt="2022-06-09T08:52:48.154" v="2104" actId="1035"/>
        <pc:sldMkLst>
          <pc:docMk/>
          <pc:sldMk cId="2093721602" sldId="2134805360"/>
        </pc:sldMkLst>
        <pc:spChg chg="mod">
          <ac:chgData name="Liebhart, Rainer (Nokia - DE/Munich)" userId="9d27e965-bed7-441e-8c07-02c758a9258d" providerId="ADAL" clId="{ED2E285D-EC8F-4260-9AB7-54A6BE976FF8}" dt="2022-06-09T08:52:48.154" v="2104" actId="1035"/>
          <ac:spMkLst>
            <pc:docMk/>
            <pc:sldMk cId="2093721602" sldId="2134805360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ED2E285D-EC8F-4260-9AB7-54A6BE976FF8}" dt="2022-06-09T08:27:46.214" v="1216" actId="403"/>
        <pc:sldMkLst>
          <pc:docMk/>
          <pc:sldMk cId="3189624576" sldId="2134805455"/>
        </pc:sldMkLst>
        <pc:spChg chg="mod">
          <ac:chgData name="Liebhart, Rainer (Nokia - DE/Munich)" userId="9d27e965-bed7-441e-8c07-02c758a9258d" providerId="ADAL" clId="{ED2E285D-EC8F-4260-9AB7-54A6BE976FF8}" dt="2022-06-09T08:27:46.214" v="1216" actId="403"/>
          <ac:spMkLst>
            <pc:docMk/>
            <pc:sldMk cId="3189624576" sldId="2134805455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ED2E285D-EC8F-4260-9AB7-54A6BE976FF8}" dt="2022-06-13T07:33:41.747" v="2441" actId="20577"/>
        <pc:sldMkLst>
          <pc:docMk/>
          <pc:sldMk cId="136686226" sldId="2134805458"/>
        </pc:sldMkLst>
        <pc:spChg chg="mod">
          <ac:chgData name="Liebhart, Rainer (Nokia - DE/Munich)" userId="9d27e965-bed7-441e-8c07-02c758a9258d" providerId="ADAL" clId="{ED2E285D-EC8F-4260-9AB7-54A6BE976FF8}" dt="2022-06-13T07:33:41.747" v="2441" actId="20577"/>
          <ac:spMkLst>
            <pc:docMk/>
            <pc:sldMk cId="136686226" sldId="2134805458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ED2E285D-EC8F-4260-9AB7-54A6BE976FF8}" dt="2022-06-09T08:29:37.189" v="1328" actId="255"/>
        <pc:sldMkLst>
          <pc:docMk/>
          <pc:sldMk cId="739015424" sldId="2134805526"/>
        </pc:sldMkLst>
        <pc:spChg chg="mod">
          <ac:chgData name="Liebhart, Rainer (Nokia - DE/Munich)" userId="9d27e965-bed7-441e-8c07-02c758a9258d" providerId="ADAL" clId="{ED2E285D-EC8F-4260-9AB7-54A6BE976FF8}" dt="2022-06-09T08:29:37.189" v="1328" actId="255"/>
          <ac:spMkLst>
            <pc:docMk/>
            <pc:sldMk cId="739015424" sldId="2134805526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ED2E285D-EC8F-4260-9AB7-54A6BE976FF8}" dt="2022-06-09T10:08:22.086" v="2330" actId="20577"/>
        <pc:sldMkLst>
          <pc:docMk/>
          <pc:sldMk cId="3601372499" sldId="2134805539"/>
        </pc:sldMkLst>
        <pc:spChg chg="mod">
          <ac:chgData name="Liebhart, Rainer (Nokia - DE/Munich)" userId="9d27e965-bed7-441e-8c07-02c758a9258d" providerId="ADAL" clId="{ED2E285D-EC8F-4260-9AB7-54A6BE976FF8}" dt="2022-06-09T10:08:22.086" v="2330" actId="20577"/>
          <ac:spMkLst>
            <pc:docMk/>
            <pc:sldMk cId="3601372499" sldId="2134805539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ED2E285D-EC8F-4260-9AB7-54A6BE976FF8}" dt="2022-06-09T08:32:36.055" v="1330" actId="20577"/>
        <pc:sldMkLst>
          <pc:docMk/>
          <pc:sldMk cId="1302172497" sldId="2134805601"/>
        </pc:sldMkLst>
        <pc:spChg chg="mod">
          <ac:chgData name="Liebhart, Rainer (Nokia - DE/Munich)" userId="9d27e965-bed7-441e-8c07-02c758a9258d" providerId="ADAL" clId="{ED2E285D-EC8F-4260-9AB7-54A6BE976FF8}" dt="2022-06-09T08:32:36.055" v="1330" actId="20577"/>
          <ac:spMkLst>
            <pc:docMk/>
            <pc:sldMk cId="1302172497" sldId="2134805601"/>
            <ac:spMk id="4" creationId="{B91515A7-343D-47E8-82B8-D58ED83CD3B1}"/>
          </ac:spMkLst>
        </pc:spChg>
      </pc:sldChg>
      <pc:sldChg chg="del mod modShow">
        <pc:chgData name="Liebhart, Rainer (Nokia - DE/Munich)" userId="9d27e965-bed7-441e-8c07-02c758a9258d" providerId="ADAL" clId="{ED2E285D-EC8F-4260-9AB7-54A6BE976FF8}" dt="2022-06-09T08:30:01.819" v="1329" actId="47"/>
        <pc:sldMkLst>
          <pc:docMk/>
          <pc:sldMk cId="2008317962" sldId="2146846804"/>
        </pc:sldMkLst>
      </pc:sldChg>
      <pc:sldChg chg="modSp mod">
        <pc:chgData name="Liebhart, Rainer (Nokia - DE/Munich)" userId="9d27e965-bed7-441e-8c07-02c758a9258d" providerId="ADAL" clId="{ED2E285D-EC8F-4260-9AB7-54A6BE976FF8}" dt="2022-06-09T08:02:39.514" v="0" actId="27636"/>
        <pc:sldMkLst>
          <pc:docMk/>
          <pc:sldMk cId="57432336" sldId="2146846851"/>
        </pc:sldMkLst>
        <pc:spChg chg="mod">
          <ac:chgData name="Liebhart, Rainer (Nokia - DE/Munich)" userId="9d27e965-bed7-441e-8c07-02c758a9258d" providerId="ADAL" clId="{ED2E285D-EC8F-4260-9AB7-54A6BE976FF8}" dt="2022-06-09T08:02:39.514" v="0" actId="27636"/>
          <ac:spMkLst>
            <pc:docMk/>
            <pc:sldMk cId="57432336" sldId="2146846851"/>
            <ac:spMk id="4" creationId="{CD72C33D-DF40-4601-AF02-8DFD5A6EA958}"/>
          </ac:spMkLst>
        </pc:spChg>
      </pc:sldChg>
      <pc:sldChg chg="modSp mod">
        <pc:chgData name="Liebhart, Rainer (Nokia - DE/Munich)" userId="9d27e965-bed7-441e-8c07-02c758a9258d" providerId="ADAL" clId="{ED2E285D-EC8F-4260-9AB7-54A6BE976FF8}" dt="2022-06-09T08:53:53.170" v="2187" actId="33524"/>
        <pc:sldMkLst>
          <pc:docMk/>
          <pc:sldMk cId="2663340322" sldId="2146846852"/>
        </pc:sldMkLst>
        <pc:spChg chg="mod">
          <ac:chgData name="Liebhart, Rainer (Nokia - DE/Munich)" userId="9d27e965-bed7-441e-8c07-02c758a9258d" providerId="ADAL" clId="{ED2E285D-EC8F-4260-9AB7-54A6BE976FF8}" dt="2022-06-09T08:53:53.170" v="2187" actId="33524"/>
          <ac:spMkLst>
            <pc:docMk/>
            <pc:sldMk cId="2663340322" sldId="2146846852"/>
            <ac:spMk id="6" creationId="{2E20DBE3-132B-4E49-9B12-D7A9DE1B1D38}"/>
          </ac:spMkLst>
        </pc:spChg>
      </pc:sldChg>
    </pc:docChg>
  </pc:docChgLst>
  <pc:docChgLst>
    <pc:chgData name="Chandramouli, Devaki (Nokia - US/Dallas)" userId="ebf2a9f8-651b-4485-926f-9d93c0eafbc5" providerId="ADAL" clId="{FB57CB79-BBE4-4060-AA3E-34A4420233AF}"/>
    <pc:docChg chg="undo custSel addSld delSld modSld">
      <pc:chgData name="Chandramouli, Devaki (Nokia - US/Dallas)" userId="ebf2a9f8-651b-4485-926f-9d93c0eafbc5" providerId="ADAL" clId="{FB57CB79-BBE4-4060-AA3E-34A4420233AF}" dt="2022-03-03T01:24:25.245" v="202" actId="20577"/>
      <pc:docMkLst>
        <pc:docMk/>
      </pc:docMkLst>
      <pc:sldChg chg="del">
        <pc:chgData name="Chandramouli, Devaki (Nokia - US/Dallas)" userId="ebf2a9f8-651b-4485-926f-9d93c0eafbc5" providerId="ADAL" clId="{FB57CB79-BBE4-4060-AA3E-34A4420233AF}" dt="2022-03-03T01:15:40.144" v="21" actId="47"/>
        <pc:sldMkLst>
          <pc:docMk/>
          <pc:sldMk cId="2758212859" sldId="2134805607"/>
        </pc:sldMkLst>
      </pc:sldChg>
      <pc:sldChg chg="del">
        <pc:chgData name="Chandramouli, Devaki (Nokia - US/Dallas)" userId="ebf2a9f8-651b-4485-926f-9d93c0eafbc5" providerId="ADAL" clId="{FB57CB79-BBE4-4060-AA3E-34A4420233AF}" dt="2022-03-03T01:15:35.654" v="16" actId="47"/>
        <pc:sldMkLst>
          <pc:docMk/>
          <pc:sldMk cId="2010772892" sldId="2134805608"/>
        </pc:sldMkLst>
      </pc:sldChg>
      <pc:sldChg chg="del">
        <pc:chgData name="Chandramouli, Devaki (Nokia - US/Dallas)" userId="ebf2a9f8-651b-4485-926f-9d93c0eafbc5" providerId="ADAL" clId="{FB57CB79-BBE4-4060-AA3E-34A4420233AF}" dt="2022-03-03T01:15:36.502" v="17" actId="47"/>
        <pc:sldMkLst>
          <pc:docMk/>
          <pc:sldMk cId="3795200204" sldId="2134805609"/>
        </pc:sldMkLst>
      </pc:sldChg>
      <pc:sldChg chg="del">
        <pc:chgData name="Chandramouli, Devaki (Nokia - US/Dallas)" userId="ebf2a9f8-651b-4485-926f-9d93c0eafbc5" providerId="ADAL" clId="{FB57CB79-BBE4-4060-AA3E-34A4420233AF}" dt="2022-03-03T01:15:37.156" v="18" actId="47"/>
        <pc:sldMkLst>
          <pc:docMk/>
          <pc:sldMk cId="3677377149" sldId="2134805610"/>
        </pc:sldMkLst>
      </pc:sldChg>
      <pc:sldChg chg="del">
        <pc:chgData name="Chandramouli, Devaki (Nokia - US/Dallas)" userId="ebf2a9f8-651b-4485-926f-9d93c0eafbc5" providerId="ADAL" clId="{FB57CB79-BBE4-4060-AA3E-34A4420233AF}" dt="2022-03-03T01:15:37.787" v="19" actId="47"/>
        <pc:sldMkLst>
          <pc:docMk/>
          <pc:sldMk cId="120151740" sldId="2134805611"/>
        </pc:sldMkLst>
      </pc:sldChg>
      <pc:sldChg chg="del">
        <pc:chgData name="Chandramouli, Devaki (Nokia - US/Dallas)" userId="ebf2a9f8-651b-4485-926f-9d93c0eafbc5" providerId="ADAL" clId="{FB57CB79-BBE4-4060-AA3E-34A4420233AF}" dt="2022-03-03T01:15:38.504" v="20" actId="47"/>
        <pc:sldMkLst>
          <pc:docMk/>
          <pc:sldMk cId="3705423800" sldId="2134805612"/>
        </pc:sldMkLst>
      </pc:sldChg>
      <pc:sldChg chg="modSp mod">
        <pc:chgData name="Chandramouli, Devaki (Nokia - US/Dallas)" userId="ebf2a9f8-651b-4485-926f-9d93c0eafbc5" providerId="ADAL" clId="{FB57CB79-BBE4-4060-AA3E-34A4420233AF}" dt="2022-03-03T01:24:25.245" v="202" actId="20577"/>
        <pc:sldMkLst>
          <pc:docMk/>
          <pc:sldMk cId="2394135302" sldId="2134805613"/>
        </pc:sldMkLst>
        <pc:spChg chg="mod">
          <ac:chgData name="Chandramouli, Devaki (Nokia - US/Dallas)" userId="ebf2a9f8-651b-4485-926f-9d93c0eafbc5" providerId="ADAL" clId="{FB57CB79-BBE4-4060-AA3E-34A4420233AF}" dt="2022-03-03T01:24:25.245" v="202" actId="20577"/>
          <ac:spMkLst>
            <pc:docMk/>
            <pc:sldMk cId="2394135302" sldId="2134805613"/>
            <ac:spMk id="4" creationId="{B91515A7-343D-47E8-82B8-D58ED83CD3B1}"/>
          </ac:spMkLst>
        </pc:spChg>
      </pc:sldChg>
      <pc:sldChg chg="modSp add mod chgLayout">
        <pc:chgData name="Chandramouli, Devaki (Nokia - US/Dallas)" userId="ebf2a9f8-651b-4485-926f-9d93c0eafbc5" providerId="ADAL" clId="{FB57CB79-BBE4-4060-AA3E-34A4420233AF}" dt="2022-03-03T01:20:35.643" v="134" actId="12"/>
        <pc:sldMkLst>
          <pc:docMk/>
          <pc:sldMk cId="1806586001" sldId="2134805614"/>
        </pc:sldMkLst>
        <pc:spChg chg="mod ord">
          <ac:chgData name="Chandramouli, Devaki (Nokia - US/Dallas)" userId="ebf2a9f8-651b-4485-926f-9d93c0eafbc5" providerId="ADAL" clId="{FB57CB79-BBE4-4060-AA3E-34A4420233AF}" dt="2022-03-03T01:15:01.560" v="12" actId="700"/>
          <ac:spMkLst>
            <pc:docMk/>
            <pc:sldMk cId="1806586001" sldId="2134805614"/>
            <ac:spMk id="2" creationId="{F70F07A9-7566-47FB-960B-B0CAB30102A8}"/>
          </ac:spMkLst>
        </pc:spChg>
        <pc:spChg chg="mod ord">
          <ac:chgData name="Chandramouli, Devaki (Nokia - US/Dallas)" userId="ebf2a9f8-651b-4485-926f-9d93c0eafbc5" providerId="ADAL" clId="{FB57CB79-BBE4-4060-AA3E-34A4420233AF}" dt="2022-03-03T01:15:01.560" v="12" actId="700"/>
          <ac:spMkLst>
            <pc:docMk/>
            <pc:sldMk cId="1806586001" sldId="2134805614"/>
            <ac:spMk id="3" creationId="{01DA5E5C-E00E-43FE-95B5-C7F208BADC76}"/>
          </ac:spMkLst>
        </pc:spChg>
        <pc:spChg chg="mod ord">
          <ac:chgData name="Chandramouli, Devaki (Nokia - US/Dallas)" userId="ebf2a9f8-651b-4485-926f-9d93c0eafbc5" providerId="ADAL" clId="{FB57CB79-BBE4-4060-AA3E-34A4420233AF}" dt="2022-03-03T01:20:35.643" v="134" actId="12"/>
          <ac:spMkLst>
            <pc:docMk/>
            <pc:sldMk cId="1806586001" sldId="2134805614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B57CB79-BBE4-4060-AA3E-34A4420233AF}" dt="2022-03-03T01:17:43.684" v="88" actId="27636"/>
        <pc:sldMkLst>
          <pc:docMk/>
          <pc:sldMk cId="4258466691" sldId="2134805615"/>
        </pc:sldMkLst>
        <pc:spChg chg="mod">
          <ac:chgData name="Chandramouli, Devaki (Nokia - US/Dallas)" userId="ebf2a9f8-651b-4485-926f-9d93c0eafbc5" providerId="ADAL" clId="{FB57CB79-BBE4-4060-AA3E-34A4420233AF}" dt="2022-03-03T01:17:43.684" v="88" actId="27636"/>
          <ac:spMkLst>
            <pc:docMk/>
            <pc:sldMk cId="4258466691" sldId="2134805615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B57CB79-BBE4-4060-AA3E-34A4420233AF}" dt="2022-03-03T01:20:15.303" v="133" actId="27636"/>
        <pc:sldMkLst>
          <pc:docMk/>
          <pc:sldMk cId="2186302939" sldId="2134805616"/>
        </pc:sldMkLst>
        <pc:spChg chg="mod">
          <ac:chgData name="Chandramouli, Devaki (Nokia - US/Dallas)" userId="ebf2a9f8-651b-4485-926f-9d93c0eafbc5" providerId="ADAL" clId="{FB57CB79-BBE4-4060-AA3E-34A4420233AF}" dt="2022-03-03T01:20:15.303" v="133" actId="27636"/>
          <ac:spMkLst>
            <pc:docMk/>
            <pc:sldMk cId="2186302939" sldId="2134805616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B57CB79-BBE4-4060-AA3E-34A4420233AF}" dt="2022-03-03T01:21:52.824" v="145" actId="27636"/>
        <pc:sldMkLst>
          <pc:docMk/>
          <pc:sldMk cId="2009724111" sldId="2134805617"/>
        </pc:sldMkLst>
        <pc:spChg chg="mod">
          <ac:chgData name="Chandramouli, Devaki (Nokia - US/Dallas)" userId="ebf2a9f8-651b-4485-926f-9d93c0eafbc5" providerId="ADAL" clId="{FB57CB79-BBE4-4060-AA3E-34A4420233AF}" dt="2022-03-03T01:21:34.904" v="143" actId="6549"/>
          <ac:spMkLst>
            <pc:docMk/>
            <pc:sldMk cId="2009724111" sldId="2134805617"/>
            <ac:spMk id="2" creationId="{F70F07A9-7566-47FB-960B-B0CAB30102A8}"/>
          </ac:spMkLst>
        </pc:spChg>
        <pc:spChg chg="mod">
          <ac:chgData name="Chandramouli, Devaki (Nokia - US/Dallas)" userId="ebf2a9f8-651b-4485-926f-9d93c0eafbc5" providerId="ADAL" clId="{FB57CB79-BBE4-4060-AA3E-34A4420233AF}" dt="2022-03-03T01:21:12.658" v="139" actId="6549"/>
          <ac:spMkLst>
            <pc:docMk/>
            <pc:sldMk cId="2009724111" sldId="2134805617"/>
            <ac:spMk id="3" creationId="{01DA5E5C-E00E-43FE-95B5-C7F208BADC76}"/>
          </ac:spMkLst>
        </pc:spChg>
        <pc:spChg chg="mod">
          <ac:chgData name="Chandramouli, Devaki (Nokia - US/Dallas)" userId="ebf2a9f8-651b-4485-926f-9d93c0eafbc5" providerId="ADAL" clId="{FB57CB79-BBE4-4060-AA3E-34A4420233AF}" dt="2022-03-03T01:21:52.824" v="145" actId="27636"/>
          <ac:spMkLst>
            <pc:docMk/>
            <pc:sldMk cId="2009724111" sldId="2134805617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B57CB79-BBE4-4060-AA3E-34A4420233AF}" dt="2022-03-03T01:22:29.595" v="152" actId="27636"/>
        <pc:sldMkLst>
          <pc:docMk/>
          <pc:sldMk cId="3974589309" sldId="2134805618"/>
        </pc:sldMkLst>
        <pc:spChg chg="mod">
          <ac:chgData name="Chandramouli, Devaki (Nokia - US/Dallas)" userId="ebf2a9f8-651b-4485-926f-9d93c0eafbc5" providerId="ADAL" clId="{FB57CB79-BBE4-4060-AA3E-34A4420233AF}" dt="2022-03-03T01:22:29.595" v="152" actId="27636"/>
          <ac:spMkLst>
            <pc:docMk/>
            <pc:sldMk cId="3974589309" sldId="2134805618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B57CB79-BBE4-4060-AA3E-34A4420233AF}" dt="2022-03-03T01:24:00.005" v="183" actId="20577"/>
        <pc:sldMkLst>
          <pc:docMk/>
          <pc:sldMk cId="1862887054" sldId="2134805619"/>
        </pc:sldMkLst>
        <pc:spChg chg="mod">
          <ac:chgData name="Chandramouli, Devaki (Nokia - US/Dallas)" userId="ebf2a9f8-651b-4485-926f-9d93c0eafbc5" providerId="ADAL" clId="{FB57CB79-BBE4-4060-AA3E-34A4420233AF}" dt="2022-03-03T01:24:00.005" v="183" actId="20577"/>
          <ac:spMkLst>
            <pc:docMk/>
            <pc:sldMk cId="1862887054" sldId="2134805619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B57CB79-BBE4-4060-AA3E-34A4420233AF}" dt="2022-03-03T01:23:25.979" v="163" actId="20577"/>
        <pc:sldMkLst>
          <pc:docMk/>
          <pc:sldMk cId="3800510262" sldId="2134805620"/>
        </pc:sldMkLst>
        <pc:spChg chg="mod">
          <ac:chgData name="Chandramouli, Devaki (Nokia - US/Dallas)" userId="ebf2a9f8-651b-4485-926f-9d93c0eafbc5" providerId="ADAL" clId="{FB57CB79-BBE4-4060-AA3E-34A4420233AF}" dt="2022-03-03T01:23:25.979" v="163" actId="20577"/>
          <ac:spMkLst>
            <pc:docMk/>
            <pc:sldMk cId="3800510262" sldId="2134805620"/>
            <ac:spMk id="4" creationId="{FD9B9349-5219-4A4E-8125-7E6F849D4C07}"/>
          </ac:spMkLst>
        </pc:spChg>
      </pc:sldChg>
    </pc:docChg>
  </pc:docChgLst>
  <pc:docChgLst>
    <pc:chgData name="Singh, Shubhranshu (Nokia - DE/Munich)" userId="S::shubhranshu.singh@nokia-bell-labs.com::097f1207-65ae-4ec2-ab78-00d0c1d73a58" providerId="AD" clId="Web-{3EAC2E9C-EE1B-A5C4-18E3-B3FD94F3134E}"/>
    <pc:docChg chg="delSld modSld">
      <pc:chgData name="Singh, Shubhranshu (Nokia - DE/Munich)" userId="S::shubhranshu.singh@nokia-bell-labs.com::097f1207-65ae-4ec2-ab78-00d0c1d73a58" providerId="AD" clId="Web-{3EAC2E9C-EE1B-A5C4-18E3-B3FD94F3134E}" dt="2022-09-09T11:55:10.381" v="6" actId="20577"/>
      <pc:docMkLst>
        <pc:docMk/>
      </pc:docMkLst>
      <pc:sldChg chg="modSp">
        <pc:chgData name="Singh, Shubhranshu (Nokia - DE/Munich)" userId="S::shubhranshu.singh@nokia-bell-labs.com::097f1207-65ae-4ec2-ab78-00d0c1d73a58" providerId="AD" clId="Web-{3EAC2E9C-EE1B-A5C4-18E3-B3FD94F3134E}" dt="2022-09-09T11:52:03.375" v="4" actId="14100"/>
        <pc:sldMkLst>
          <pc:docMk/>
          <pc:sldMk cId="4008632245" sldId="2134805565"/>
        </pc:sldMkLst>
        <pc:spChg chg="mod">
          <ac:chgData name="Singh, Shubhranshu (Nokia - DE/Munich)" userId="S::shubhranshu.singh@nokia-bell-labs.com::097f1207-65ae-4ec2-ab78-00d0c1d73a58" providerId="AD" clId="Web-{3EAC2E9C-EE1B-A5C4-18E3-B3FD94F3134E}" dt="2022-09-09T11:52:03.375" v="4" actId="14100"/>
          <ac:spMkLst>
            <pc:docMk/>
            <pc:sldMk cId="4008632245" sldId="2134805565"/>
            <ac:spMk id="4" creationId="{CD72C33D-DF40-4601-AF02-8DFD5A6EA958}"/>
          </ac:spMkLst>
        </pc:spChg>
      </pc:sldChg>
      <pc:sldChg chg="del">
        <pc:chgData name="Singh, Shubhranshu (Nokia - DE/Munich)" userId="S::shubhranshu.singh@nokia-bell-labs.com::097f1207-65ae-4ec2-ab78-00d0c1d73a58" providerId="AD" clId="Web-{3EAC2E9C-EE1B-A5C4-18E3-B3FD94F3134E}" dt="2022-09-09T11:51:50.343" v="0"/>
        <pc:sldMkLst>
          <pc:docMk/>
          <pc:sldMk cId="3443280728" sldId="2146846935"/>
        </pc:sldMkLst>
      </pc:sldChg>
      <pc:sldChg chg="modSp">
        <pc:chgData name="Singh, Shubhranshu (Nokia - DE/Munich)" userId="S::shubhranshu.singh@nokia-bell-labs.com::097f1207-65ae-4ec2-ab78-00d0c1d73a58" providerId="AD" clId="Web-{3EAC2E9C-EE1B-A5C4-18E3-B3FD94F3134E}" dt="2022-09-09T11:55:10.381" v="6" actId="20577"/>
        <pc:sldMkLst>
          <pc:docMk/>
          <pc:sldMk cId="1192268341" sldId="2146846947"/>
        </pc:sldMkLst>
        <pc:spChg chg="mod">
          <ac:chgData name="Singh, Shubhranshu (Nokia - DE/Munich)" userId="S::shubhranshu.singh@nokia-bell-labs.com::097f1207-65ae-4ec2-ab78-00d0c1d73a58" providerId="AD" clId="Web-{3EAC2E9C-EE1B-A5C4-18E3-B3FD94F3134E}" dt="2022-09-09T11:55:10.381" v="6" actId="20577"/>
          <ac:spMkLst>
            <pc:docMk/>
            <pc:sldMk cId="1192268341" sldId="2146846947"/>
            <ac:spMk id="8" creationId="{F33D3D28-799C-427F-86FD-5638A2F8CB9D}"/>
          </ac:spMkLst>
        </pc:spChg>
      </pc:sldChg>
    </pc:docChg>
  </pc:docChgLst>
  <pc:docChgLst>
    <pc:chgData name="Fabio Giust (Nokia)" userId="4032e17e-121c-4a4e-b875-df2f68eb573c" providerId="ADAL" clId="{0B0EEE1F-9B1B-4F65-9EB3-096844F6EB87}"/>
    <pc:docChg chg="undo custSel modSld">
      <pc:chgData name="Fabio Giust (Nokia)" userId="4032e17e-121c-4a4e-b875-df2f68eb573c" providerId="ADAL" clId="{0B0EEE1F-9B1B-4F65-9EB3-096844F6EB87}" dt="2023-03-03T17:18:08.460" v="1959" actId="20577"/>
      <pc:docMkLst>
        <pc:docMk/>
      </pc:docMkLst>
      <pc:sldChg chg="modSp mod">
        <pc:chgData name="Fabio Giust (Nokia)" userId="4032e17e-121c-4a4e-b875-df2f68eb573c" providerId="ADAL" clId="{0B0EEE1F-9B1B-4F65-9EB3-096844F6EB87}" dt="2023-03-03T16:33:21.094" v="1" actId="20577"/>
        <pc:sldMkLst>
          <pc:docMk/>
          <pc:sldMk cId="2416036818" sldId="338"/>
        </pc:sldMkLst>
        <pc:spChg chg="mod">
          <ac:chgData name="Fabio Giust (Nokia)" userId="4032e17e-121c-4a4e-b875-df2f68eb573c" providerId="ADAL" clId="{0B0EEE1F-9B1B-4F65-9EB3-096844F6EB87}" dt="2023-03-03T16:33:21.094" v="1" actId="20577"/>
          <ac:spMkLst>
            <pc:docMk/>
            <pc:sldMk cId="2416036818" sldId="338"/>
            <ac:spMk id="3" creationId="{85A38C5A-5EBC-4325-8F64-062DAE1CFEC0}"/>
          </ac:spMkLst>
        </pc:spChg>
      </pc:sldChg>
      <pc:sldChg chg="modSp mod">
        <pc:chgData name="Fabio Giust (Nokia)" userId="4032e17e-121c-4a4e-b875-df2f68eb573c" providerId="ADAL" clId="{0B0EEE1F-9B1B-4F65-9EB3-096844F6EB87}" dt="2023-03-03T16:52:31.126" v="1158" actId="20577"/>
        <pc:sldMkLst>
          <pc:docMk/>
          <pc:sldMk cId="4241780383" sldId="2146846932"/>
        </pc:sldMkLst>
        <pc:spChg chg="mod">
          <ac:chgData name="Fabio Giust (Nokia)" userId="4032e17e-121c-4a4e-b875-df2f68eb573c" providerId="ADAL" clId="{0B0EEE1F-9B1B-4F65-9EB3-096844F6EB87}" dt="2023-03-03T16:52:31.126" v="1158" actId="20577"/>
          <ac:spMkLst>
            <pc:docMk/>
            <pc:sldMk cId="4241780383" sldId="2146846932"/>
            <ac:spMk id="4" creationId="{CD72C33D-DF40-4601-AF02-8DFD5A6EA958}"/>
          </ac:spMkLst>
        </pc:spChg>
      </pc:sldChg>
      <pc:sldChg chg="modSp mod">
        <pc:chgData name="Fabio Giust (Nokia)" userId="4032e17e-121c-4a4e-b875-df2f68eb573c" providerId="ADAL" clId="{0B0EEE1F-9B1B-4F65-9EB3-096844F6EB87}" dt="2023-03-03T17:13:53.323" v="1863" actId="6549"/>
        <pc:sldMkLst>
          <pc:docMk/>
          <pc:sldMk cId="1913528199" sldId="2146846934"/>
        </pc:sldMkLst>
        <pc:spChg chg="mod">
          <ac:chgData name="Fabio Giust (Nokia)" userId="4032e17e-121c-4a4e-b875-df2f68eb573c" providerId="ADAL" clId="{0B0EEE1F-9B1B-4F65-9EB3-096844F6EB87}" dt="2023-03-03T17:13:53.323" v="1863" actId="6549"/>
          <ac:spMkLst>
            <pc:docMk/>
            <pc:sldMk cId="1913528199" sldId="2146846934"/>
            <ac:spMk id="4" creationId="{FC0D3EA9-8686-465E-AF3E-02775AA807DF}"/>
          </ac:spMkLst>
        </pc:spChg>
      </pc:sldChg>
      <pc:sldChg chg="modSp mod">
        <pc:chgData name="Fabio Giust (Nokia)" userId="4032e17e-121c-4a4e-b875-df2f68eb573c" providerId="ADAL" clId="{0B0EEE1F-9B1B-4F65-9EB3-096844F6EB87}" dt="2023-03-03T17:11:30.541" v="1773" actId="20577"/>
        <pc:sldMkLst>
          <pc:docMk/>
          <pc:sldMk cId="1001977197" sldId="2146846974"/>
        </pc:sldMkLst>
        <pc:spChg chg="mod">
          <ac:chgData name="Fabio Giust (Nokia)" userId="4032e17e-121c-4a4e-b875-df2f68eb573c" providerId="ADAL" clId="{0B0EEE1F-9B1B-4F65-9EB3-096844F6EB87}" dt="2023-03-03T17:11:30.541" v="1773" actId="20577"/>
          <ac:spMkLst>
            <pc:docMk/>
            <pc:sldMk cId="1001977197" sldId="2146846974"/>
            <ac:spMk id="4" creationId="{FC0D3EA9-8686-465E-AF3E-02775AA807DF}"/>
          </ac:spMkLst>
        </pc:spChg>
      </pc:sldChg>
      <pc:sldChg chg="modSp mod">
        <pc:chgData name="Fabio Giust (Nokia)" userId="4032e17e-121c-4a4e-b875-df2f68eb573c" providerId="ADAL" clId="{0B0EEE1F-9B1B-4F65-9EB3-096844F6EB87}" dt="2023-03-03T17:18:08.460" v="1959" actId="20577"/>
        <pc:sldMkLst>
          <pc:docMk/>
          <pc:sldMk cId="996509344" sldId="2146846975"/>
        </pc:sldMkLst>
        <pc:spChg chg="mod">
          <ac:chgData name="Fabio Giust (Nokia)" userId="4032e17e-121c-4a4e-b875-df2f68eb573c" providerId="ADAL" clId="{0B0EEE1F-9B1B-4F65-9EB3-096844F6EB87}" dt="2023-03-03T17:18:08.460" v="1959" actId="20577"/>
          <ac:spMkLst>
            <pc:docMk/>
            <pc:sldMk cId="996509344" sldId="2146846975"/>
            <ac:spMk id="4" creationId="{FC0D3EA9-8686-465E-AF3E-02775AA807DF}"/>
          </ac:spMkLst>
        </pc:spChg>
      </pc:sldChg>
    </pc:docChg>
  </pc:docChgLst>
  <pc:docChgLst>
    <pc:chgData name="Shen, Sherry (NSB - CN/Beijing)" userId="S::sherry.shen@nokia-sbell.com::acf2e5cf-b8b4-4ce6-81c0-0dc594513efe" providerId="AD" clId="Web-{56EAE725-07C4-3126-86F2-F9CE94884499}"/>
    <pc:docChg chg="modSld">
      <pc:chgData name="Shen, Sherry (NSB - CN/Beijing)" userId="S::sherry.shen@nokia-sbell.com::acf2e5cf-b8b4-4ce6-81c0-0dc594513efe" providerId="AD" clId="Web-{56EAE725-07C4-3126-86F2-F9CE94884499}" dt="2020-03-12T10:38:56.332" v="2" actId="20577"/>
      <pc:docMkLst>
        <pc:docMk/>
      </pc:docMkLst>
      <pc:sldChg chg="modSp">
        <pc:chgData name="Shen, Sherry (NSB - CN/Beijing)" userId="S::sherry.shen@nokia-sbell.com::acf2e5cf-b8b4-4ce6-81c0-0dc594513efe" providerId="AD" clId="Web-{56EAE725-07C4-3126-86F2-F9CE94884499}" dt="2020-03-12T10:38:52.363" v="0" actId="20577"/>
        <pc:sldMkLst>
          <pc:docMk/>
          <pc:sldMk cId="1709557886" sldId="279"/>
        </pc:sldMkLst>
        <pc:spChg chg="mod">
          <ac:chgData name="Shen, Sherry (NSB - CN/Beijing)" userId="S::sherry.shen@nokia-sbell.com::acf2e5cf-b8b4-4ce6-81c0-0dc594513efe" providerId="AD" clId="Web-{56EAE725-07C4-3126-86F2-F9CE94884499}" dt="2020-03-12T10:38:52.363" v="0" actId="20577"/>
          <ac:spMkLst>
            <pc:docMk/>
            <pc:sldMk cId="1709557886" sldId="279"/>
            <ac:spMk id="5" creationId="{A560F786-3A6C-41F0-99EF-DFF4DE7F777C}"/>
          </ac:spMkLst>
        </pc:spChg>
      </pc:sldChg>
    </pc:docChg>
  </pc:docChgLst>
  <pc:docChgLst>
    <pc:chgData name="Lair, Yannick (Nokia - FR/Paris-Saclay)" userId="e0601b81-de45-4b0d-b7c3-b06e9080ce2c" providerId="ADAL" clId="{1F36F423-9BB5-4DD4-A0F8-17C1527A9028}"/>
    <pc:docChg chg="undo redo custSel modSld">
      <pc:chgData name="Lair, Yannick (Nokia - FR/Paris-Saclay)" userId="e0601b81-de45-4b0d-b7c3-b06e9080ce2c" providerId="ADAL" clId="{1F36F423-9BB5-4DD4-A0F8-17C1527A9028}" dt="2022-03-07T10:28:24.064" v="164" actId="1076"/>
      <pc:docMkLst>
        <pc:docMk/>
      </pc:docMkLst>
      <pc:sldChg chg="modSp mod">
        <pc:chgData name="Lair, Yannick (Nokia - FR/Paris-Saclay)" userId="e0601b81-de45-4b0d-b7c3-b06e9080ce2c" providerId="ADAL" clId="{1F36F423-9BB5-4DD4-A0F8-17C1527A9028}" dt="2022-03-07T10:28:24.064" v="164" actId="1076"/>
        <pc:sldMkLst>
          <pc:docMk/>
          <pc:sldMk cId="1819896102" sldId="2134805586"/>
        </pc:sldMkLst>
        <pc:spChg chg="mod">
          <ac:chgData name="Lair, Yannick (Nokia - FR/Paris-Saclay)" userId="e0601b81-de45-4b0d-b7c3-b06e9080ce2c" providerId="ADAL" clId="{1F36F423-9BB5-4DD4-A0F8-17C1527A9028}" dt="2022-03-07T10:18:33.252" v="15" actId="6549"/>
          <ac:spMkLst>
            <pc:docMk/>
            <pc:sldMk cId="1819896102" sldId="2134805586"/>
            <ac:spMk id="2" creationId="{F55F6DD9-9F73-4475-B4C0-0BD35C69E49D}"/>
          </ac:spMkLst>
        </pc:spChg>
        <pc:spChg chg="mod">
          <ac:chgData name="Lair, Yannick (Nokia - FR/Paris-Saclay)" userId="e0601b81-de45-4b0d-b7c3-b06e9080ce2c" providerId="ADAL" clId="{1F36F423-9BB5-4DD4-A0F8-17C1527A9028}" dt="2022-03-07T10:21:05.711" v="42" actId="20577"/>
          <ac:spMkLst>
            <pc:docMk/>
            <pc:sldMk cId="1819896102" sldId="2134805586"/>
            <ac:spMk id="3" creationId="{506A8607-C5AE-48A7-9AC8-7B6F426DD14D}"/>
          </ac:spMkLst>
        </pc:spChg>
        <pc:spChg chg="mod">
          <ac:chgData name="Lair, Yannick (Nokia - FR/Paris-Saclay)" userId="e0601b81-de45-4b0d-b7c3-b06e9080ce2c" providerId="ADAL" clId="{1F36F423-9BB5-4DD4-A0F8-17C1527A9028}" dt="2022-03-07T10:20:10.947" v="38" actId="20577"/>
          <ac:spMkLst>
            <pc:docMk/>
            <pc:sldMk cId="1819896102" sldId="2134805586"/>
            <ac:spMk id="4" creationId="{CD72C33D-DF40-4601-AF02-8DFD5A6EA958}"/>
          </ac:spMkLst>
        </pc:spChg>
        <pc:graphicFrameChg chg="mod">
          <ac:chgData name="Lair, Yannick (Nokia - FR/Paris-Saclay)" userId="e0601b81-de45-4b0d-b7c3-b06e9080ce2c" providerId="ADAL" clId="{1F36F423-9BB5-4DD4-A0F8-17C1527A9028}" dt="2022-03-07T10:28:24.064" v="164" actId="1076"/>
          <ac:graphicFrameMkLst>
            <pc:docMk/>
            <pc:sldMk cId="1819896102" sldId="2134805586"/>
            <ac:graphicFrameMk id="5" creationId="{C8BBFCFC-A916-4DFF-91B3-3D3FB6D6A8D0}"/>
          </ac:graphicFrameMkLst>
        </pc:graphicFrameChg>
      </pc:sldChg>
      <pc:sldChg chg="addSp delSp modSp mod">
        <pc:chgData name="Lair, Yannick (Nokia - FR/Paris-Saclay)" userId="e0601b81-de45-4b0d-b7c3-b06e9080ce2c" providerId="ADAL" clId="{1F36F423-9BB5-4DD4-A0F8-17C1527A9028}" dt="2022-03-07T10:28:16.345" v="163" actId="1076"/>
        <pc:sldMkLst>
          <pc:docMk/>
          <pc:sldMk cId="3007859491" sldId="2134805595"/>
        </pc:sldMkLst>
        <pc:spChg chg="mod">
          <ac:chgData name="Lair, Yannick (Nokia - FR/Paris-Saclay)" userId="e0601b81-de45-4b0d-b7c3-b06e9080ce2c" providerId="ADAL" clId="{1F36F423-9BB5-4DD4-A0F8-17C1527A9028}" dt="2022-03-07T10:22:11.542" v="97"/>
          <ac:spMkLst>
            <pc:docMk/>
            <pc:sldMk cId="3007859491" sldId="2134805595"/>
            <ac:spMk id="2" creationId="{F55F6DD9-9F73-4475-B4C0-0BD35C69E49D}"/>
          </ac:spMkLst>
        </pc:spChg>
        <pc:spChg chg="mod">
          <ac:chgData name="Lair, Yannick (Nokia - FR/Paris-Saclay)" userId="e0601b81-de45-4b0d-b7c3-b06e9080ce2c" providerId="ADAL" clId="{1F36F423-9BB5-4DD4-A0F8-17C1527A9028}" dt="2022-03-07T10:21:13.163" v="49" actId="20577"/>
          <ac:spMkLst>
            <pc:docMk/>
            <pc:sldMk cId="3007859491" sldId="2134805595"/>
            <ac:spMk id="3" creationId="{506A8607-C5AE-48A7-9AC8-7B6F426DD14D}"/>
          </ac:spMkLst>
        </pc:spChg>
        <pc:spChg chg="mod">
          <ac:chgData name="Lair, Yannick (Nokia - FR/Paris-Saclay)" userId="e0601b81-de45-4b0d-b7c3-b06e9080ce2c" providerId="ADAL" clId="{1F36F423-9BB5-4DD4-A0F8-17C1527A9028}" dt="2022-03-07T10:28:05.775" v="162" actId="948"/>
          <ac:spMkLst>
            <pc:docMk/>
            <pc:sldMk cId="3007859491" sldId="2134805595"/>
            <ac:spMk id="4" creationId="{CD72C33D-DF40-4601-AF02-8DFD5A6EA958}"/>
          </ac:spMkLst>
        </pc:spChg>
        <pc:spChg chg="add del">
          <ac:chgData name="Lair, Yannick (Nokia - FR/Paris-Saclay)" userId="e0601b81-de45-4b0d-b7c3-b06e9080ce2c" providerId="ADAL" clId="{1F36F423-9BB5-4DD4-A0F8-17C1527A9028}" dt="2022-03-07T10:24:43.791" v="108"/>
          <ac:spMkLst>
            <pc:docMk/>
            <pc:sldMk cId="3007859491" sldId="2134805595"/>
            <ac:spMk id="6" creationId="{C5673E90-811A-4228-BFF6-3D0F6C8A4A0E}"/>
          </ac:spMkLst>
        </pc:spChg>
        <pc:spChg chg="add del">
          <ac:chgData name="Lair, Yannick (Nokia - FR/Paris-Saclay)" userId="e0601b81-de45-4b0d-b7c3-b06e9080ce2c" providerId="ADAL" clId="{1F36F423-9BB5-4DD4-A0F8-17C1527A9028}" dt="2022-03-07T10:27:12.895" v="129"/>
          <ac:spMkLst>
            <pc:docMk/>
            <pc:sldMk cId="3007859491" sldId="2134805595"/>
            <ac:spMk id="7" creationId="{7056DF73-EB40-46D2-B8EF-3BAA6FE9847F}"/>
          </ac:spMkLst>
        </pc:spChg>
        <pc:graphicFrameChg chg="mod modGraphic">
          <ac:chgData name="Lair, Yannick (Nokia - FR/Paris-Saclay)" userId="e0601b81-de45-4b0d-b7c3-b06e9080ce2c" providerId="ADAL" clId="{1F36F423-9BB5-4DD4-A0F8-17C1527A9028}" dt="2022-03-07T10:28:16.345" v="163" actId="1076"/>
          <ac:graphicFrameMkLst>
            <pc:docMk/>
            <pc:sldMk cId="3007859491" sldId="2134805595"/>
            <ac:graphicFrameMk id="5" creationId="{147F1A6A-0E16-4C84-8E82-5039900CDD75}"/>
          </ac:graphicFrameMkLst>
        </pc:graphicFrameChg>
      </pc:sldChg>
    </pc:docChg>
  </pc:docChgLst>
  <pc:docChgLst>
    <pc:chgData name="Thiebaut, Laurent (Nokia - FR/Paris-Saclay)" userId="5a0f83ef-4330-4e17-8828-eca8fc03b257" providerId="ADAL" clId="{1C88C56B-B318-4FC2-AC7F-1863B932885E}"/>
    <pc:docChg chg="undo redo custSel addSld delSld modSld">
      <pc:chgData name="Thiebaut, Laurent (Nokia - FR/Paris-Saclay)" userId="5a0f83ef-4330-4e17-8828-eca8fc03b257" providerId="ADAL" clId="{1C88C56B-B318-4FC2-AC7F-1863B932885E}" dt="2021-04-27T09:42:12.750" v="469" actId="2696"/>
      <pc:docMkLst>
        <pc:docMk/>
      </pc:docMkLst>
      <pc:sldChg chg="modSp">
        <pc:chgData name="Thiebaut, Laurent (Nokia - FR/Paris-Saclay)" userId="5a0f83ef-4330-4e17-8828-eca8fc03b257" providerId="ADAL" clId="{1C88C56B-B318-4FC2-AC7F-1863B932885E}" dt="2021-04-27T09:32:26.241" v="311" actId="20577"/>
        <pc:sldMkLst>
          <pc:docMk/>
          <pc:sldMk cId="2165169509" sldId="258"/>
        </pc:sldMkLst>
        <pc:spChg chg="mod">
          <ac:chgData name="Thiebaut, Laurent (Nokia - FR/Paris-Saclay)" userId="5a0f83ef-4330-4e17-8828-eca8fc03b257" providerId="ADAL" clId="{1C88C56B-B318-4FC2-AC7F-1863B932885E}" dt="2021-04-27T09:32:26.241" v="311" actId="20577"/>
          <ac:spMkLst>
            <pc:docMk/>
            <pc:sldMk cId="2165169509" sldId="258"/>
            <ac:spMk id="3" creationId="{A4E748F3-52F3-4227-86AD-9C50826A6263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41:43.948" v="457" actId="20577"/>
        <pc:sldMkLst>
          <pc:docMk/>
          <pc:sldMk cId="350768357" sldId="274"/>
        </pc:sldMkLst>
        <pc:spChg chg="mod">
          <ac:chgData name="Thiebaut, Laurent (Nokia - FR/Paris-Saclay)" userId="5a0f83ef-4330-4e17-8828-eca8fc03b257" providerId="ADAL" clId="{1C88C56B-B318-4FC2-AC7F-1863B932885E}" dt="2021-04-27T09:41:43.948" v="457" actId="20577"/>
          <ac:spMkLst>
            <pc:docMk/>
            <pc:sldMk cId="350768357" sldId="274"/>
            <ac:spMk id="4" creationId="{B91515A7-343D-47E8-82B8-D58ED83CD3B1}"/>
          </ac:spMkLst>
        </pc:spChg>
      </pc:sldChg>
      <pc:sldChg chg="del">
        <pc:chgData name="Thiebaut, Laurent (Nokia - FR/Paris-Saclay)" userId="5a0f83ef-4330-4e17-8828-eca8fc03b257" providerId="ADAL" clId="{1C88C56B-B318-4FC2-AC7F-1863B932885E}" dt="2021-04-27T09:41:26.431" v="426" actId="2696"/>
        <pc:sldMkLst>
          <pc:docMk/>
          <pc:sldMk cId="3153064115" sldId="275"/>
        </pc:sldMkLst>
      </pc:sldChg>
      <pc:sldChg chg="modSp">
        <pc:chgData name="Thiebaut, Laurent (Nokia - FR/Paris-Saclay)" userId="5a0f83ef-4330-4e17-8828-eca8fc03b257" providerId="ADAL" clId="{1C88C56B-B318-4FC2-AC7F-1863B932885E}" dt="2021-04-27T09:42:01.313" v="460"/>
        <pc:sldMkLst>
          <pc:docMk/>
          <pc:sldMk cId="3913098898" sldId="276"/>
        </pc:sldMkLst>
        <pc:spChg chg="mod">
          <ac:chgData name="Thiebaut, Laurent (Nokia - FR/Paris-Saclay)" userId="5a0f83ef-4330-4e17-8828-eca8fc03b257" providerId="ADAL" clId="{1C88C56B-B318-4FC2-AC7F-1863B932885E}" dt="2021-04-27T09:42:01.313" v="460"/>
          <ac:spMkLst>
            <pc:docMk/>
            <pc:sldMk cId="3913098898" sldId="276"/>
            <ac:spMk id="4" creationId="{B91515A7-343D-47E8-82B8-D58ED83CD3B1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37:36.467" v="359" actId="20577"/>
        <pc:sldMkLst>
          <pc:docMk/>
          <pc:sldMk cId="1389723289" sldId="280"/>
        </pc:sldMkLst>
        <pc:spChg chg="mod">
          <ac:chgData name="Thiebaut, Laurent (Nokia - FR/Paris-Saclay)" userId="5a0f83ef-4330-4e17-8828-eca8fc03b257" providerId="ADAL" clId="{1C88C56B-B318-4FC2-AC7F-1863B932885E}" dt="2021-04-27T09:37:36.467" v="359" actId="20577"/>
          <ac:spMkLst>
            <pc:docMk/>
            <pc:sldMk cId="1389723289" sldId="280"/>
            <ac:spMk id="3" creationId="{5B84A4F0-57DA-4FC9-AEAC-815E3FF90221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38:48.183" v="403" actId="20577"/>
        <pc:sldMkLst>
          <pc:docMk/>
          <pc:sldMk cId="1074351315" sldId="283"/>
        </pc:sldMkLst>
        <pc:spChg chg="mod">
          <ac:chgData name="Thiebaut, Laurent (Nokia - FR/Paris-Saclay)" userId="5a0f83ef-4330-4e17-8828-eca8fc03b257" providerId="ADAL" clId="{1C88C56B-B318-4FC2-AC7F-1863B932885E}" dt="2021-04-27T09:38:48.183" v="403" actId="20577"/>
          <ac:spMkLst>
            <pc:docMk/>
            <pc:sldMk cId="1074351315" sldId="283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1C88C56B-B318-4FC2-AC7F-1863B932885E}" dt="2021-04-27T09:38:36.345" v="394"/>
          <ac:spMkLst>
            <pc:docMk/>
            <pc:sldMk cId="1074351315" sldId="283"/>
            <ac:spMk id="5" creationId="{A560F786-3A6C-41F0-99EF-DFF4DE7F777C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40:00.834" v="416" actId="20577"/>
        <pc:sldMkLst>
          <pc:docMk/>
          <pc:sldMk cId="2244628399" sldId="285"/>
        </pc:sldMkLst>
        <pc:spChg chg="mod">
          <ac:chgData name="Thiebaut, Laurent (Nokia - FR/Paris-Saclay)" userId="5a0f83ef-4330-4e17-8828-eca8fc03b257" providerId="ADAL" clId="{1C88C56B-B318-4FC2-AC7F-1863B932885E}" dt="2021-04-27T09:40:00.834" v="416" actId="20577"/>
          <ac:spMkLst>
            <pc:docMk/>
            <pc:sldMk cId="2244628399" sldId="285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1C88C56B-B318-4FC2-AC7F-1863B932885E}" dt="2021-04-27T09:39:56.981" v="415" actId="6549"/>
          <ac:spMkLst>
            <pc:docMk/>
            <pc:sldMk cId="2244628399" sldId="285"/>
            <ac:spMk id="5" creationId="{A560F786-3A6C-41F0-99EF-DFF4DE7F777C}"/>
          </ac:spMkLst>
        </pc:spChg>
      </pc:sldChg>
      <pc:sldChg chg="del">
        <pc:chgData name="Thiebaut, Laurent (Nokia - FR/Paris-Saclay)" userId="5a0f83ef-4330-4e17-8828-eca8fc03b257" providerId="ADAL" clId="{1C88C56B-B318-4FC2-AC7F-1863B932885E}" dt="2021-04-27T09:42:09.960" v="461" actId="2696"/>
        <pc:sldMkLst>
          <pc:docMk/>
          <pc:sldMk cId="2462381644" sldId="291"/>
        </pc:sldMkLst>
      </pc:sldChg>
      <pc:sldChg chg="del">
        <pc:chgData name="Thiebaut, Laurent (Nokia - FR/Paris-Saclay)" userId="5a0f83ef-4330-4e17-8828-eca8fc03b257" providerId="ADAL" clId="{1C88C56B-B318-4FC2-AC7F-1863B932885E}" dt="2021-04-27T09:42:10.004" v="465" actId="2696"/>
        <pc:sldMkLst>
          <pc:docMk/>
          <pc:sldMk cId="1392594002" sldId="292"/>
        </pc:sldMkLst>
      </pc:sldChg>
      <pc:sldChg chg="del">
        <pc:chgData name="Thiebaut, Laurent (Nokia - FR/Paris-Saclay)" userId="5a0f83ef-4330-4e17-8828-eca8fc03b257" providerId="ADAL" clId="{1C88C56B-B318-4FC2-AC7F-1863B932885E}" dt="2021-04-27T09:42:10.016" v="466" actId="2696"/>
        <pc:sldMkLst>
          <pc:docMk/>
          <pc:sldMk cId="142503569" sldId="293"/>
        </pc:sldMkLst>
      </pc:sldChg>
      <pc:sldChg chg="del">
        <pc:chgData name="Thiebaut, Laurent (Nokia - FR/Paris-Saclay)" userId="5a0f83ef-4330-4e17-8828-eca8fc03b257" providerId="ADAL" clId="{1C88C56B-B318-4FC2-AC7F-1863B932885E}" dt="2021-04-27T09:42:09.972" v="462" actId="2696"/>
        <pc:sldMkLst>
          <pc:docMk/>
          <pc:sldMk cId="1456803108" sldId="294"/>
        </pc:sldMkLst>
      </pc:sldChg>
      <pc:sldChg chg="del">
        <pc:chgData name="Thiebaut, Laurent (Nokia - FR/Paris-Saclay)" userId="5a0f83ef-4330-4e17-8828-eca8fc03b257" providerId="ADAL" clId="{1C88C56B-B318-4FC2-AC7F-1863B932885E}" dt="2021-04-27T09:42:09.983" v="463" actId="2696"/>
        <pc:sldMkLst>
          <pc:docMk/>
          <pc:sldMk cId="1968315161" sldId="295"/>
        </pc:sldMkLst>
      </pc:sldChg>
      <pc:sldChg chg="del">
        <pc:chgData name="Thiebaut, Laurent (Nokia - FR/Paris-Saclay)" userId="5a0f83ef-4330-4e17-8828-eca8fc03b257" providerId="ADAL" clId="{1C88C56B-B318-4FC2-AC7F-1863B932885E}" dt="2021-04-27T09:42:12.750" v="469" actId="2696"/>
        <pc:sldMkLst>
          <pc:docMk/>
          <pc:sldMk cId="3982377665" sldId="296"/>
        </pc:sldMkLst>
      </pc:sldChg>
      <pc:sldChg chg="del">
        <pc:chgData name="Thiebaut, Laurent (Nokia - FR/Paris-Saclay)" userId="5a0f83ef-4330-4e17-8828-eca8fc03b257" providerId="ADAL" clId="{1C88C56B-B318-4FC2-AC7F-1863B932885E}" dt="2021-04-27T09:42:09.992" v="464" actId="2696"/>
        <pc:sldMkLst>
          <pc:docMk/>
          <pc:sldMk cId="3834355431" sldId="297"/>
        </pc:sldMkLst>
      </pc:sldChg>
      <pc:sldChg chg="del">
        <pc:chgData name="Thiebaut, Laurent (Nokia - FR/Paris-Saclay)" userId="5a0f83ef-4330-4e17-8828-eca8fc03b257" providerId="ADAL" clId="{1C88C56B-B318-4FC2-AC7F-1863B932885E}" dt="2021-04-27T09:42:10.025" v="467" actId="2696"/>
        <pc:sldMkLst>
          <pc:docMk/>
          <pc:sldMk cId="8711352" sldId="298"/>
        </pc:sldMkLst>
      </pc:sldChg>
      <pc:sldChg chg="modSp">
        <pc:chgData name="Thiebaut, Laurent (Nokia - FR/Paris-Saclay)" userId="5a0f83ef-4330-4e17-8828-eca8fc03b257" providerId="ADAL" clId="{1C88C56B-B318-4FC2-AC7F-1863B932885E}" dt="2021-04-27T09:39:39.610" v="412" actId="6549"/>
        <pc:sldMkLst>
          <pc:docMk/>
          <pc:sldMk cId="298917606" sldId="301"/>
        </pc:sldMkLst>
        <pc:spChg chg="mod">
          <ac:chgData name="Thiebaut, Laurent (Nokia - FR/Paris-Saclay)" userId="5a0f83ef-4330-4e17-8828-eca8fc03b257" providerId="ADAL" clId="{1C88C56B-B318-4FC2-AC7F-1863B932885E}" dt="2021-04-27T09:39:39.610" v="412" actId="6549"/>
          <ac:spMkLst>
            <pc:docMk/>
            <pc:sldMk cId="298917606" sldId="301"/>
            <ac:spMk id="3" creationId="{5B84A4F0-57DA-4FC9-AEAC-815E3FF90221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39:45.829" v="413" actId="6549"/>
        <pc:sldMkLst>
          <pc:docMk/>
          <pc:sldMk cId="1124374886" sldId="302"/>
        </pc:sldMkLst>
        <pc:spChg chg="mod">
          <ac:chgData name="Thiebaut, Laurent (Nokia - FR/Paris-Saclay)" userId="5a0f83ef-4330-4e17-8828-eca8fc03b257" providerId="ADAL" clId="{1C88C56B-B318-4FC2-AC7F-1863B932885E}" dt="2021-04-27T09:39:45.829" v="413" actId="6549"/>
          <ac:spMkLst>
            <pc:docMk/>
            <pc:sldMk cId="1124374886" sldId="302"/>
            <ac:spMk id="3" creationId="{5B84A4F0-57DA-4FC9-AEAC-815E3FF90221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40:16.451" v="420" actId="6549"/>
        <pc:sldMkLst>
          <pc:docMk/>
          <pc:sldMk cId="20773976" sldId="303"/>
        </pc:sldMkLst>
        <pc:spChg chg="mod">
          <ac:chgData name="Thiebaut, Laurent (Nokia - FR/Paris-Saclay)" userId="5a0f83ef-4330-4e17-8828-eca8fc03b257" providerId="ADAL" clId="{1C88C56B-B318-4FC2-AC7F-1863B932885E}" dt="2021-04-27T09:40:07.038" v="417" actId="6549"/>
          <ac:spMkLst>
            <pc:docMk/>
            <pc:sldMk cId="20773976" sldId="303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1C88C56B-B318-4FC2-AC7F-1863B932885E}" dt="2021-04-27T09:40:16.451" v="420" actId="6549"/>
          <ac:spMkLst>
            <pc:docMk/>
            <pc:sldMk cId="20773976" sldId="303"/>
            <ac:spMk id="5" creationId="{A560F786-3A6C-41F0-99EF-DFF4DE7F777C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40:26.768" v="422" actId="6549"/>
        <pc:sldMkLst>
          <pc:docMk/>
          <pc:sldMk cId="62257519" sldId="304"/>
        </pc:sldMkLst>
        <pc:spChg chg="mod">
          <ac:chgData name="Thiebaut, Laurent (Nokia - FR/Paris-Saclay)" userId="5a0f83ef-4330-4e17-8828-eca8fc03b257" providerId="ADAL" clId="{1C88C56B-B318-4FC2-AC7F-1863B932885E}" dt="2021-04-27T09:40:26.768" v="422" actId="6549"/>
          <ac:spMkLst>
            <pc:docMk/>
            <pc:sldMk cId="62257519" sldId="304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1C88C56B-B318-4FC2-AC7F-1863B932885E}" dt="2021-04-27T09:40:21.357" v="421"/>
          <ac:spMkLst>
            <pc:docMk/>
            <pc:sldMk cId="62257519" sldId="304"/>
            <ac:spMk id="5" creationId="{A560F786-3A6C-41F0-99EF-DFF4DE7F777C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40:36.614" v="424"/>
        <pc:sldMkLst>
          <pc:docMk/>
          <pc:sldMk cId="3180151841" sldId="305"/>
        </pc:sldMkLst>
        <pc:spChg chg="mod">
          <ac:chgData name="Thiebaut, Laurent (Nokia - FR/Paris-Saclay)" userId="5a0f83ef-4330-4e17-8828-eca8fc03b257" providerId="ADAL" clId="{1C88C56B-B318-4FC2-AC7F-1863B932885E}" dt="2021-04-27T09:40:33.335" v="423" actId="6549"/>
          <ac:spMkLst>
            <pc:docMk/>
            <pc:sldMk cId="3180151841" sldId="305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1C88C56B-B318-4FC2-AC7F-1863B932885E}" dt="2021-04-27T09:40:36.614" v="424"/>
          <ac:spMkLst>
            <pc:docMk/>
            <pc:sldMk cId="3180151841" sldId="305"/>
            <ac:spMk id="5" creationId="{A560F786-3A6C-41F0-99EF-DFF4DE7F777C}"/>
          </ac:spMkLst>
        </pc:spChg>
      </pc:sldChg>
      <pc:sldChg chg="del">
        <pc:chgData name="Thiebaut, Laurent (Nokia - FR/Paris-Saclay)" userId="5a0f83ef-4330-4e17-8828-eca8fc03b257" providerId="ADAL" clId="{1C88C56B-B318-4FC2-AC7F-1863B932885E}" dt="2021-04-27T09:42:11.955" v="468" actId="2696"/>
        <pc:sldMkLst>
          <pc:docMk/>
          <pc:sldMk cId="1631595811" sldId="317"/>
        </pc:sldMkLst>
      </pc:sldChg>
      <pc:sldChg chg="modSp">
        <pc:chgData name="Thiebaut, Laurent (Nokia - FR/Paris-Saclay)" userId="5a0f83ef-4330-4e17-8828-eca8fc03b257" providerId="ADAL" clId="{1C88C56B-B318-4FC2-AC7F-1863B932885E}" dt="2021-04-21T15:48:39.626" v="70" actId="20577"/>
        <pc:sldMkLst>
          <pc:docMk/>
          <pc:sldMk cId="2692745318" sldId="322"/>
        </pc:sldMkLst>
        <pc:spChg chg="mod">
          <ac:chgData name="Thiebaut, Laurent (Nokia - FR/Paris-Saclay)" userId="5a0f83ef-4330-4e17-8828-eca8fc03b257" providerId="ADAL" clId="{1C88C56B-B318-4FC2-AC7F-1863B932885E}" dt="2021-04-21T15:48:39.626" v="70" actId="20577"/>
          <ac:spMkLst>
            <pc:docMk/>
            <pc:sldMk cId="2692745318" sldId="322"/>
            <ac:spMk id="5" creationId="{A560F786-3A6C-41F0-99EF-DFF4DE7F777C}"/>
          </ac:spMkLst>
        </pc:spChg>
      </pc:sldChg>
      <pc:sldChg chg="del">
        <pc:chgData name="Thiebaut, Laurent (Nokia - FR/Paris-Saclay)" userId="5a0f83ef-4330-4e17-8828-eca8fc03b257" providerId="ADAL" clId="{1C88C56B-B318-4FC2-AC7F-1863B932885E}" dt="2021-04-27T09:40:50.859" v="425" actId="2696"/>
        <pc:sldMkLst>
          <pc:docMk/>
          <pc:sldMk cId="3571564102" sldId="333"/>
        </pc:sldMkLst>
      </pc:sldChg>
      <pc:sldChg chg="modSp">
        <pc:chgData name="Thiebaut, Laurent (Nokia - FR/Paris-Saclay)" userId="5a0f83ef-4330-4e17-8828-eca8fc03b257" providerId="ADAL" clId="{1C88C56B-B318-4FC2-AC7F-1863B932885E}" dt="2021-04-27T09:38:21.217" v="392" actId="6549"/>
        <pc:sldMkLst>
          <pc:docMk/>
          <pc:sldMk cId="4090109033" sldId="334"/>
        </pc:sldMkLst>
        <pc:spChg chg="mod">
          <ac:chgData name="Thiebaut, Laurent (Nokia - FR/Paris-Saclay)" userId="5a0f83ef-4330-4e17-8828-eca8fc03b257" providerId="ADAL" clId="{1C88C56B-B318-4FC2-AC7F-1863B932885E}" dt="2021-04-27T09:38:21.217" v="392" actId="6549"/>
          <ac:spMkLst>
            <pc:docMk/>
            <pc:sldMk cId="4090109033" sldId="334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1C88C56B-B318-4FC2-AC7F-1863B932885E}" dt="2021-04-27T09:38:16.120" v="391" actId="6549"/>
          <ac:spMkLst>
            <pc:docMk/>
            <pc:sldMk cId="4090109033" sldId="334"/>
            <ac:spMk id="5" creationId="{A560F786-3A6C-41F0-99EF-DFF4DE7F777C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1T15:48:25.083" v="55" actId="20577"/>
        <pc:sldMkLst>
          <pc:docMk/>
          <pc:sldMk cId="2416036818" sldId="338"/>
        </pc:sldMkLst>
        <pc:spChg chg="mod">
          <ac:chgData name="Thiebaut, Laurent (Nokia - FR/Paris-Saclay)" userId="5a0f83ef-4330-4e17-8828-eca8fc03b257" providerId="ADAL" clId="{1C88C56B-B318-4FC2-AC7F-1863B932885E}" dt="2021-04-21T15:44:12.751" v="2" actId="20577"/>
          <ac:spMkLst>
            <pc:docMk/>
            <pc:sldMk cId="2416036818" sldId="338"/>
            <ac:spMk id="4" creationId="{BD612997-8F8D-4939-8023-9B09970813F4}"/>
          </ac:spMkLst>
        </pc:spChg>
        <pc:spChg chg="mod">
          <ac:chgData name="Thiebaut, Laurent (Nokia - FR/Paris-Saclay)" userId="5a0f83ef-4330-4e17-8828-eca8fc03b257" providerId="ADAL" clId="{1C88C56B-B318-4FC2-AC7F-1863B932885E}" dt="2021-04-21T15:48:25.083" v="55" actId="20577"/>
          <ac:spMkLst>
            <pc:docMk/>
            <pc:sldMk cId="2416036818" sldId="338"/>
            <ac:spMk id="5" creationId="{0A813F0E-7224-42E6-A359-B5A9B05FEE7A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36:50.132" v="336" actId="20577"/>
        <pc:sldMkLst>
          <pc:docMk/>
          <pc:sldMk cId="2037566493" sldId="341"/>
        </pc:sldMkLst>
        <pc:spChg chg="mod">
          <ac:chgData name="Thiebaut, Laurent (Nokia - FR/Paris-Saclay)" userId="5a0f83ef-4330-4e17-8828-eca8fc03b257" providerId="ADAL" clId="{1C88C56B-B318-4FC2-AC7F-1863B932885E}" dt="2021-04-27T09:36:50.132" v="336" actId="20577"/>
          <ac:spMkLst>
            <pc:docMk/>
            <pc:sldMk cId="2037566493" sldId="341"/>
            <ac:spMk id="3" creationId="{5B84A4F0-57DA-4FC9-AEAC-815E3FF90221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39:01.322" v="405" actId="20577"/>
        <pc:sldMkLst>
          <pc:docMk/>
          <pc:sldMk cId="3925664284" sldId="344"/>
        </pc:sldMkLst>
        <pc:spChg chg="mod">
          <ac:chgData name="Thiebaut, Laurent (Nokia - FR/Paris-Saclay)" userId="5a0f83ef-4330-4e17-8828-eca8fc03b257" providerId="ADAL" clId="{1C88C56B-B318-4FC2-AC7F-1863B932885E}" dt="2021-04-27T09:39:01.322" v="405" actId="20577"/>
          <ac:spMkLst>
            <pc:docMk/>
            <pc:sldMk cId="3925664284" sldId="344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1C88C56B-B318-4FC2-AC7F-1863B932885E}" dt="2021-04-27T09:38:56.547" v="404"/>
          <ac:spMkLst>
            <pc:docMk/>
            <pc:sldMk cId="3925664284" sldId="344"/>
            <ac:spMk id="5" creationId="{A560F786-3A6C-41F0-99EF-DFF4DE7F777C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39:16.589" v="411" actId="6549"/>
        <pc:sldMkLst>
          <pc:docMk/>
          <pc:sldMk cId="1198382535" sldId="346"/>
        </pc:sldMkLst>
        <pc:spChg chg="mod">
          <ac:chgData name="Thiebaut, Laurent (Nokia - FR/Paris-Saclay)" userId="5a0f83ef-4330-4e17-8828-eca8fc03b257" providerId="ADAL" clId="{1C88C56B-B318-4FC2-AC7F-1863B932885E}" dt="2021-04-27T09:39:16.589" v="411" actId="6549"/>
          <ac:spMkLst>
            <pc:docMk/>
            <pc:sldMk cId="1198382535" sldId="346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1C88C56B-B318-4FC2-AC7F-1863B932885E}" dt="2021-04-27T09:39:12.057" v="410" actId="20577"/>
          <ac:spMkLst>
            <pc:docMk/>
            <pc:sldMk cId="1198382535" sldId="346"/>
            <ac:spMk id="5" creationId="{A560F786-3A6C-41F0-99EF-DFF4DE7F777C}"/>
          </ac:spMkLst>
        </pc:spChg>
      </pc:sldChg>
      <pc:sldChg chg="del">
        <pc:chgData name="Thiebaut, Laurent (Nokia - FR/Paris-Saclay)" userId="5a0f83ef-4330-4e17-8828-eca8fc03b257" providerId="ADAL" clId="{1C88C56B-B318-4FC2-AC7F-1863B932885E}" dt="2021-04-21T16:02:36.047" v="79" actId="2696"/>
        <pc:sldMkLst>
          <pc:docMk/>
          <pc:sldMk cId="2815501642" sldId="351"/>
        </pc:sldMkLst>
      </pc:sldChg>
      <pc:sldChg chg="modSp">
        <pc:chgData name="Thiebaut, Laurent (Nokia - FR/Paris-Saclay)" userId="5a0f83ef-4330-4e17-8828-eca8fc03b257" providerId="ADAL" clId="{1C88C56B-B318-4FC2-AC7F-1863B932885E}" dt="2021-04-21T15:49:28.517" v="71" actId="6549"/>
        <pc:sldMkLst>
          <pc:docMk/>
          <pc:sldMk cId="1403617697" sldId="353"/>
        </pc:sldMkLst>
        <pc:spChg chg="mod">
          <ac:chgData name="Thiebaut, Laurent (Nokia - FR/Paris-Saclay)" userId="5a0f83ef-4330-4e17-8828-eca8fc03b257" providerId="ADAL" clId="{1C88C56B-B318-4FC2-AC7F-1863B932885E}" dt="2021-04-21T15:49:28.517" v="71" actId="6549"/>
          <ac:spMkLst>
            <pc:docMk/>
            <pc:sldMk cId="1403617697" sldId="353"/>
            <ac:spMk id="4" creationId="{B91515A7-343D-47E8-82B8-D58ED83CD3B1}"/>
          </ac:spMkLst>
        </pc:spChg>
      </pc:sldChg>
      <pc:sldChg chg="add del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2650957761" sldId="800"/>
        </pc:sldMkLst>
      </pc:sldChg>
      <pc:sldChg chg="modSp add del">
        <pc:chgData name="Thiebaut, Laurent (Nokia - FR/Paris-Saclay)" userId="5a0f83ef-4330-4e17-8828-eca8fc03b257" providerId="ADAL" clId="{1C88C56B-B318-4FC2-AC7F-1863B932885E}" dt="2021-04-23T12:27:21.691" v="284" actId="2696"/>
        <pc:sldMkLst>
          <pc:docMk/>
          <pc:sldMk cId="3939985329" sldId="815"/>
        </pc:sldMkLst>
        <pc:spChg chg="mod">
          <ac:chgData name="Thiebaut, Laurent (Nokia - FR/Paris-Saclay)" userId="5a0f83ef-4330-4e17-8828-eca8fc03b257" providerId="ADAL" clId="{1C88C56B-B318-4FC2-AC7F-1863B932885E}" dt="2021-04-21T16:11:01.416" v="207" actId="1076"/>
          <ac:spMkLst>
            <pc:docMk/>
            <pc:sldMk cId="3939985329" sldId="815"/>
            <ac:spMk id="29716" creationId="{00000000-0000-0000-0000-000000000000}"/>
          </ac:spMkLst>
        </pc:spChg>
        <pc:graphicFrameChg chg="mod modGraphic">
          <ac:chgData name="Thiebaut, Laurent (Nokia - FR/Paris-Saclay)" userId="5a0f83ef-4330-4e17-8828-eca8fc03b257" providerId="ADAL" clId="{1C88C56B-B318-4FC2-AC7F-1863B932885E}" dt="2021-04-21T16:10:50.808" v="205" actId="1076"/>
          <ac:graphicFrameMkLst>
            <pc:docMk/>
            <pc:sldMk cId="3939985329" sldId="815"/>
            <ac:graphicFrameMk id="9" creationId="{00000000-0000-0000-0000-000000000000}"/>
          </ac:graphicFrameMkLst>
        </pc:graphicFrameChg>
      </pc:sldChg>
      <pc:sldChg chg="modSp add del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356227305" sldId="816"/>
        </pc:sldMkLst>
        <pc:spChg chg="mod">
          <ac:chgData name="Thiebaut, Laurent (Nokia - FR/Paris-Saclay)" userId="5a0f83ef-4330-4e17-8828-eca8fc03b257" providerId="ADAL" clId="{1C88C56B-B318-4FC2-AC7F-1863B932885E}" dt="2021-04-21T16:11:47.613" v="219" actId="20577"/>
          <ac:spMkLst>
            <pc:docMk/>
            <pc:sldMk cId="356227305" sldId="816"/>
            <ac:spMk id="29716" creationId="{00000000-0000-0000-0000-000000000000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1T15:50:03.768" v="75"/>
        <pc:sldMkLst>
          <pc:docMk/>
          <pc:sldMk cId="831834194" sldId="2134805378"/>
        </pc:sldMkLst>
        <pc:spChg chg="mod">
          <ac:chgData name="Thiebaut, Laurent (Nokia - FR/Paris-Saclay)" userId="5a0f83ef-4330-4e17-8828-eca8fc03b257" providerId="ADAL" clId="{1C88C56B-B318-4FC2-AC7F-1863B932885E}" dt="2021-04-21T15:50:03.768" v="75"/>
          <ac:spMkLst>
            <pc:docMk/>
            <pc:sldMk cId="831834194" sldId="2134805378"/>
            <ac:spMk id="3" creationId="{A4E748F3-52F3-4227-86AD-9C50826A6263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1T16:03:16.669" v="94" actId="20577"/>
        <pc:sldMkLst>
          <pc:docMk/>
          <pc:sldMk cId="2202004667" sldId="2134805383"/>
        </pc:sldMkLst>
        <pc:spChg chg="mod">
          <ac:chgData name="Thiebaut, Laurent (Nokia - FR/Paris-Saclay)" userId="5a0f83ef-4330-4e17-8828-eca8fc03b257" providerId="ADAL" clId="{1C88C56B-B318-4FC2-AC7F-1863B932885E}" dt="2021-04-21T16:03:16.669" v="94" actId="20577"/>
          <ac:spMkLst>
            <pc:docMk/>
            <pc:sldMk cId="2202004667" sldId="2134805383"/>
            <ac:spMk id="7" creationId="{51855F48-622D-49D1-8300-678891D711F6}"/>
          </ac:spMkLst>
        </pc:spChg>
      </pc:sldChg>
      <pc:sldChg chg="add">
        <pc:chgData name="Thiebaut, Laurent (Nokia - FR/Paris-Saclay)" userId="5a0f83ef-4330-4e17-8828-eca8fc03b257" providerId="ADAL" clId="{1C88C56B-B318-4FC2-AC7F-1863B932885E}" dt="2021-04-21T16:02:55.755" v="82"/>
        <pc:sldMkLst>
          <pc:docMk/>
          <pc:sldMk cId="1232992897" sldId="2134805402"/>
        </pc:sldMkLst>
      </pc:sldChg>
      <pc:sldChg chg="del">
        <pc:chgData name="Thiebaut, Laurent (Nokia - FR/Paris-Saclay)" userId="5a0f83ef-4330-4e17-8828-eca8fc03b257" providerId="ADAL" clId="{1C88C56B-B318-4FC2-AC7F-1863B932885E}" dt="2021-04-21T16:02:47.278" v="80" actId="2696"/>
        <pc:sldMkLst>
          <pc:docMk/>
          <pc:sldMk cId="2465772037" sldId="2134805402"/>
        </pc:sldMkLst>
      </pc:sldChg>
      <pc:sldChg chg="modSp">
        <pc:chgData name="Thiebaut, Laurent (Nokia - FR/Paris-Saclay)" userId="5a0f83ef-4330-4e17-8828-eca8fc03b257" providerId="ADAL" clId="{1C88C56B-B318-4FC2-AC7F-1863B932885E}" dt="2021-04-23T12:27:25.446" v="294" actId="404"/>
        <pc:sldMkLst>
          <pc:docMk/>
          <pc:sldMk cId="1648074745" sldId="2134805413"/>
        </pc:sldMkLst>
        <pc:spChg chg="mod">
          <ac:chgData name="Thiebaut, Laurent (Nokia - FR/Paris-Saclay)" userId="5a0f83ef-4330-4e17-8828-eca8fc03b257" providerId="ADAL" clId="{1C88C56B-B318-4FC2-AC7F-1863B932885E}" dt="2021-04-23T12:27:25.446" v="294" actId="404"/>
          <ac:spMkLst>
            <pc:docMk/>
            <pc:sldMk cId="1648074745" sldId="2134805413"/>
            <ac:spMk id="6" creationId="{73ABFF06-0EEA-4A2B-8C72-B6058B36F449}"/>
          </ac:spMkLst>
        </pc:spChg>
      </pc:sldChg>
      <pc:sldChg chg="del">
        <pc:chgData name="Thiebaut, Laurent (Nokia - FR/Paris-Saclay)" userId="5a0f83ef-4330-4e17-8828-eca8fc03b257" providerId="ADAL" clId="{1C88C56B-B318-4FC2-AC7F-1863B932885E}" dt="2021-04-21T16:02:47.296" v="81" actId="2696"/>
        <pc:sldMkLst>
          <pc:docMk/>
          <pc:sldMk cId="2867709825" sldId="2134805414"/>
        </pc:sldMkLst>
      </pc:sldChg>
      <pc:sldChg chg="add">
        <pc:chgData name="Thiebaut, Laurent (Nokia - FR/Paris-Saclay)" userId="5a0f83ef-4330-4e17-8828-eca8fc03b257" providerId="ADAL" clId="{1C88C56B-B318-4FC2-AC7F-1863B932885E}" dt="2021-04-21T16:02:55.755" v="82"/>
        <pc:sldMkLst>
          <pc:docMk/>
          <pc:sldMk cId="3834558963" sldId="2134805414"/>
        </pc:sldMkLst>
      </pc:sldChg>
      <pc:sldChg chg="modSp">
        <pc:chgData name="Thiebaut, Laurent (Nokia - FR/Paris-Saclay)" userId="5a0f83ef-4330-4e17-8828-eca8fc03b257" providerId="ADAL" clId="{1C88C56B-B318-4FC2-AC7F-1863B932885E}" dt="2021-04-27T09:33:13.716" v="312" actId="207"/>
        <pc:sldMkLst>
          <pc:docMk/>
          <pc:sldMk cId="113731936" sldId="2134805416"/>
        </pc:sldMkLst>
        <pc:spChg chg="mod">
          <ac:chgData name="Thiebaut, Laurent (Nokia - FR/Paris-Saclay)" userId="5a0f83ef-4330-4e17-8828-eca8fc03b257" providerId="ADAL" clId="{1C88C56B-B318-4FC2-AC7F-1863B932885E}" dt="2021-04-27T09:33:13.716" v="312" actId="207"/>
          <ac:spMkLst>
            <pc:docMk/>
            <pc:sldMk cId="113731936" sldId="2134805416"/>
            <ac:spMk id="3" creationId="{A4E748F3-52F3-4227-86AD-9C50826A6263}"/>
          </ac:spMkLst>
        </pc:spChg>
      </pc:sldChg>
      <pc:sldChg chg="modSp add del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638605840" sldId="2134805417"/>
        </pc:sldMkLst>
        <pc:spChg chg="mod">
          <ac:chgData name="Thiebaut, Laurent (Nokia - FR/Paris-Saclay)" userId="5a0f83ef-4330-4e17-8828-eca8fc03b257" providerId="ADAL" clId="{1C88C56B-B318-4FC2-AC7F-1863B932885E}" dt="2021-04-21T16:03:51.149" v="110"/>
          <ac:spMkLst>
            <pc:docMk/>
            <pc:sldMk cId="638605840" sldId="2134805417"/>
            <ac:spMk id="2" creationId="{9F31353A-D41F-4CEF-B45F-7706562425B6}"/>
          </ac:spMkLst>
        </pc:spChg>
      </pc:sldChg>
      <pc:sldChg chg="del">
        <pc:chgData name="Thiebaut, Laurent (Nokia - FR/Paris-Saclay)" userId="5a0f83ef-4330-4e17-8828-eca8fc03b257" providerId="ADAL" clId="{1C88C56B-B318-4FC2-AC7F-1863B932885E}" dt="2021-04-21T16:09:08.132" v="114" actId="2696"/>
        <pc:sldMkLst>
          <pc:docMk/>
          <pc:sldMk cId="785644600" sldId="2134805418"/>
        </pc:sldMkLst>
      </pc:sldChg>
      <pc:sldChg chg="add del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2261274786" sldId="2134805432"/>
        </pc:sldMkLst>
      </pc:sldChg>
      <pc:sldChg chg="add del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3118820506" sldId="2134805433"/>
        </pc:sldMkLst>
      </pc:sldChg>
      <pc:sldChg chg="add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3508041192" sldId="2134805434"/>
        </pc:sldMkLst>
      </pc:sldChg>
      <pc:sldChg chg="add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3046812945" sldId="2134805435"/>
        </pc:sldMkLst>
      </pc:sldChg>
      <pc:sldChg chg="add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2613265209" sldId="2134805436"/>
        </pc:sldMkLst>
      </pc:sldChg>
      <pc:sldChg chg="modSp">
        <pc:chgData name="Thiebaut, Laurent (Nokia - FR/Paris-Saclay)" userId="5a0f83ef-4330-4e17-8828-eca8fc03b257" providerId="ADAL" clId="{1C88C56B-B318-4FC2-AC7F-1863B932885E}" dt="2021-04-21T15:51:24.855" v="78" actId="20577"/>
        <pc:sldMkLst>
          <pc:docMk/>
          <pc:sldMk cId="1706274098" sldId="2134805453"/>
        </pc:sldMkLst>
        <pc:spChg chg="mod">
          <ac:chgData name="Thiebaut, Laurent (Nokia - FR/Paris-Saclay)" userId="5a0f83ef-4330-4e17-8828-eca8fc03b257" providerId="ADAL" clId="{1C88C56B-B318-4FC2-AC7F-1863B932885E}" dt="2021-04-21T15:51:24.855" v="78" actId="20577"/>
          <ac:spMkLst>
            <pc:docMk/>
            <pc:sldMk cId="1706274098" sldId="2134805453"/>
            <ac:spMk id="8" creationId="{A6FE9473-D619-44D5-90D9-CA33713ECD23}"/>
          </ac:spMkLst>
        </pc:spChg>
      </pc:sldChg>
      <pc:sldChg chg="add del">
        <pc:chgData name="Thiebaut, Laurent (Nokia - FR/Paris-Saclay)" userId="5a0f83ef-4330-4e17-8828-eca8fc03b257" providerId="ADAL" clId="{1C88C56B-B318-4FC2-AC7F-1863B932885E}" dt="2021-04-23T12:19:35.893" v="247" actId="2696"/>
        <pc:sldMkLst>
          <pc:docMk/>
          <pc:sldMk cId="430102203" sldId="2134805454"/>
        </pc:sldMkLst>
      </pc:sldChg>
      <pc:sldChg chg="add del">
        <pc:chgData name="Thiebaut, Laurent (Nokia - FR/Paris-Saclay)" userId="5a0f83ef-4330-4e17-8828-eca8fc03b257" providerId="ADAL" clId="{1C88C56B-B318-4FC2-AC7F-1863B932885E}" dt="2021-04-23T12:19:35.929" v="248" actId="2696"/>
        <pc:sldMkLst>
          <pc:docMk/>
          <pc:sldMk cId="4045133485" sldId="2134805455"/>
        </pc:sldMkLst>
      </pc:sldChg>
      <pc:sldChg chg="add del">
        <pc:chgData name="Thiebaut, Laurent (Nokia - FR/Paris-Saclay)" userId="5a0f83ef-4330-4e17-8828-eca8fc03b257" providerId="ADAL" clId="{1C88C56B-B318-4FC2-AC7F-1863B932885E}" dt="2021-04-23T12:19:35.966" v="249" actId="2696"/>
        <pc:sldMkLst>
          <pc:docMk/>
          <pc:sldMk cId="3287701077" sldId="2134805456"/>
        </pc:sldMkLst>
      </pc:sldChg>
      <pc:sldChg chg="add del">
        <pc:chgData name="Thiebaut, Laurent (Nokia - FR/Paris-Saclay)" userId="5a0f83ef-4330-4e17-8828-eca8fc03b257" providerId="ADAL" clId="{1C88C56B-B318-4FC2-AC7F-1863B932885E}" dt="2021-04-23T12:19:36.008" v="251" actId="2696"/>
        <pc:sldMkLst>
          <pc:docMk/>
          <pc:sldMk cId="4028330678" sldId="2134805457"/>
        </pc:sldMkLst>
      </pc:sldChg>
      <pc:sldChg chg="add del">
        <pc:chgData name="Thiebaut, Laurent (Nokia - FR/Paris-Saclay)" userId="5a0f83ef-4330-4e17-8828-eca8fc03b257" providerId="ADAL" clId="{1C88C56B-B318-4FC2-AC7F-1863B932885E}" dt="2021-04-23T12:19:36.045" v="253" actId="2696"/>
        <pc:sldMkLst>
          <pc:docMk/>
          <pc:sldMk cId="1289635415" sldId="2134805458"/>
        </pc:sldMkLst>
      </pc:sldChg>
      <pc:sldChg chg="add del">
        <pc:chgData name="Thiebaut, Laurent (Nokia - FR/Paris-Saclay)" userId="5a0f83ef-4330-4e17-8828-eca8fc03b257" providerId="ADAL" clId="{1C88C56B-B318-4FC2-AC7F-1863B932885E}" dt="2021-04-23T12:19:36.102" v="255" actId="2696"/>
        <pc:sldMkLst>
          <pc:docMk/>
          <pc:sldMk cId="2575587269" sldId="2134805459"/>
        </pc:sldMkLst>
      </pc:sldChg>
      <pc:sldChg chg="modSp add del">
        <pc:chgData name="Thiebaut, Laurent (Nokia - FR/Paris-Saclay)" userId="5a0f83ef-4330-4e17-8828-eca8fc03b257" providerId="ADAL" clId="{1C88C56B-B318-4FC2-AC7F-1863B932885E}" dt="2021-04-27T09:33:48.734" v="313" actId="6549"/>
        <pc:sldMkLst>
          <pc:docMk/>
          <pc:sldMk cId="658360804" sldId="2134805460"/>
        </pc:sldMkLst>
        <pc:spChg chg="mod">
          <ac:chgData name="Thiebaut, Laurent (Nokia - FR/Paris-Saclay)" userId="5a0f83ef-4330-4e17-8828-eca8fc03b257" providerId="ADAL" clId="{1C88C56B-B318-4FC2-AC7F-1863B932885E}" dt="2021-04-27T09:33:48.734" v="313" actId="6549"/>
          <ac:spMkLst>
            <pc:docMk/>
            <pc:sldMk cId="658360804" sldId="2134805460"/>
            <ac:spMk id="4" creationId="{5C8D5078-B8D0-4095-8466-64F7613FE8A6}"/>
          </ac:spMkLst>
        </pc:spChg>
      </pc:sldChg>
      <pc:sldChg chg="modSp">
        <pc:chgData name="Thiebaut, Laurent (Nokia - FR/Paris-Saclay)" userId="5a0f83ef-4330-4e17-8828-eca8fc03b257" providerId="ADAL" clId="{1C88C56B-B318-4FC2-AC7F-1863B932885E}" dt="2021-04-27T09:37:21.937" v="358" actId="20577"/>
        <pc:sldMkLst>
          <pc:docMk/>
          <pc:sldMk cId="3834558963" sldId="2134805462"/>
        </pc:sldMkLst>
        <pc:spChg chg="mod">
          <ac:chgData name="Thiebaut, Laurent (Nokia - FR/Paris-Saclay)" userId="5a0f83ef-4330-4e17-8828-eca8fc03b257" providerId="ADAL" clId="{1C88C56B-B318-4FC2-AC7F-1863B932885E}" dt="2021-04-27T09:37:04.938" v="337" actId="20577"/>
          <ac:spMkLst>
            <pc:docMk/>
            <pc:sldMk cId="3834558963" sldId="2134805462"/>
            <ac:spMk id="2" creationId="{9F31353A-D41F-4CEF-B45F-7706562425B6}"/>
          </ac:spMkLst>
        </pc:spChg>
        <pc:spChg chg="mod">
          <ac:chgData name="Thiebaut, Laurent (Nokia - FR/Paris-Saclay)" userId="5a0f83ef-4330-4e17-8828-eca8fc03b257" providerId="ADAL" clId="{1C88C56B-B318-4FC2-AC7F-1863B932885E}" dt="2021-04-27T09:37:21.937" v="358" actId="20577"/>
          <ac:spMkLst>
            <pc:docMk/>
            <pc:sldMk cId="3834558963" sldId="2134805462"/>
            <ac:spMk id="4" creationId="{5C8D5078-B8D0-4095-8466-64F7613FE8A6}"/>
          </ac:spMkLst>
        </pc:spChg>
      </pc:sldChg>
      <pc:sldChg chg="add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191217492" sldId="2134805463"/>
        </pc:sldMkLst>
      </pc:sldChg>
      <pc:sldChg chg="del">
        <pc:chgData name="Thiebaut, Laurent (Nokia - FR/Paris-Saclay)" userId="5a0f83ef-4330-4e17-8828-eca8fc03b257" providerId="ADAL" clId="{1C88C56B-B318-4FC2-AC7F-1863B932885E}" dt="2021-04-27T09:36:24.513" v="314" actId="2696"/>
        <pc:sldMkLst>
          <pc:docMk/>
          <pc:sldMk cId="1913507967" sldId="2134805464"/>
        </pc:sldMkLst>
      </pc:sldChg>
      <pc:sldChg chg="add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4045133485" sldId="2134805464"/>
        </pc:sldMkLst>
      </pc:sldChg>
      <pc:sldChg chg="add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4028330678" sldId="2134805465"/>
        </pc:sldMkLst>
      </pc:sldChg>
      <pc:sldChg chg="add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1289635415" sldId="2134805466"/>
        </pc:sldMkLst>
      </pc:sldChg>
      <pc:sldChg chg="add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2575587269" sldId="2134805467"/>
        </pc:sldMkLst>
      </pc:sldChg>
      <pc:sldChg chg="add">
        <pc:chgData name="Thiebaut, Laurent (Nokia - FR/Paris-Saclay)" userId="5a0f83ef-4330-4e17-8828-eca8fc03b257" providerId="ADAL" clId="{1C88C56B-B318-4FC2-AC7F-1863B932885E}" dt="2021-04-23T12:20:01.020" v="257"/>
        <pc:sldMkLst>
          <pc:docMk/>
          <pc:sldMk cId="658360804" sldId="2134805468"/>
        </pc:sldMkLst>
      </pc:sldChg>
      <pc:sldChg chg="modSp">
        <pc:chgData name="Thiebaut, Laurent (Nokia - FR/Paris-Saclay)" userId="5a0f83ef-4330-4e17-8828-eca8fc03b257" providerId="ADAL" clId="{1C88C56B-B318-4FC2-AC7F-1863B932885E}" dt="2021-04-23T12:27:46.860" v="301" actId="20577"/>
        <pc:sldMkLst>
          <pc:docMk/>
          <pc:sldMk cId="658360804" sldId="2134805479"/>
        </pc:sldMkLst>
        <pc:spChg chg="mod">
          <ac:chgData name="Thiebaut, Laurent (Nokia - FR/Paris-Saclay)" userId="5a0f83ef-4330-4e17-8828-eca8fc03b257" providerId="ADAL" clId="{1C88C56B-B318-4FC2-AC7F-1863B932885E}" dt="2021-04-23T12:27:46.860" v="301" actId="20577"/>
          <ac:spMkLst>
            <pc:docMk/>
            <pc:sldMk cId="658360804" sldId="2134805479"/>
            <ac:spMk id="4" creationId="{5C8D5078-B8D0-4095-8466-64F7613FE8A6}"/>
          </ac:spMkLst>
        </pc:spChg>
      </pc:sldChg>
      <pc:sldMasterChg chg="addSldLayout delSldLayout">
        <pc:chgData name="Thiebaut, Laurent (Nokia - FR/Paris-Saclay)" userId="5a0f83ef-4330-4e17-8828-eca8fc03b257" providerId="ADAL" clId="{1C88C56B-B318-4FC2-AC7F-1863B932885E}" dt="2021-04-23T12:19:35.967" v="250" actId="2696"/>
        <pc:sldMasterMkLst>
          <pc:docMk/>
          <pc:sldMasterMk cId="4241891639" sldId="2147483650"/>
        </pc:sldMasterMkLst>
        <pc:sldLayoutChg chg="add del">
          <pc:chgData name="Thiebaut, Laurent (Nokia - FR/Paris-Saclay)" userId="5a0f83ef-4330-4e17-8828-eca8fc03b257" providerId="ADAL" clId="{1C88C56B-B318-4FC2-AC7F-1863B932885E}" dt="2021-04-23T12:19:35.967" v="250" actId="2696"/>
          <pc:sldLayoutMkLst>
            <pc:docMk/>
            <pc:sldMasterMk cId="4241891639" sldId="2147483650"/>
            <pc:sldLayoutMk cId="2904350597" sldId="2147483728"/>
          </pc:sldLayoutMkLst>
        </pc:sldLayoutChg>
        <pc:sldLayoutChg chg="add del">
          <pc:chgData name="Thiebaut, Laurent (Nokia - FR/Paris-Saclay)" userId="5a0f83ef-4330-4e17-8828-eca8fc03b257" providerId="ADAL" clId="{1C88C56B-B318-4FC2-AC7F-1863B932885E}" dt="2021-04-23T12:19:25.770" v="243" actId="2696"/>
          <pc:sldLayoutMkLst>
            <pc:docMk/>
            <pc:sldMasterMk cId="4241891639" sldId="2147483650"/>
            <pc:sldLayoutMk cId="1063726774" sldId="2147483729"/>
          </pc:sldLayoutMkLst>
        </pc:sldLayoutChg>
      </pc:sldMasterChg>
    </pc:docChg>
  </pc:docChgLst>
  <pc:docChgLst>
    <pc:chgData name="Laurent Thiebaut (Nokia)" userId="S::laurent.thiebaut@nokia.com::5a0f83ef-4330-4e17-8828-eca8fc03b257" providerId="AD" clId="Web-{38AC650C-4133-C6D5-F83D-A9B1D86DA38A}"/>
    <pc:docChg chg="addSld delSld modSld sldOrd">
      <pc:chgData name="Laurent Thiebaut (Nokia)" userId="S::laurent.thiebaut@nokia.com::5a0f83ef-4330-4e17-8828-eca8fc03b257" providerId="AD" clId="Web-{38AC650C-4133-C6D5-F83D-A9B1D86DA38A}" dt="2023-03-05T19:54:04.109" v="217" actId="20577"/>
      <pc:docMkLst>
        <pc:docMk/>
      </pc:docMkLst>
      <pc:sldChg chg="delSp modSp">
        <pc:chgData name="Laurent Thiebaut (Nokia)" userId="S::laurent.thiebaut@nokia.com::5a0f83ef-4330-4e17-8828-eca8fc03b257" providerId="AD" clId="Web-{38AC650C-4133-C6D5-F83D-A9B1D86DA38A}" dt="2023-03-05T19:39:27.513" v="61" actId="20577"/>
        <pc:sldMkLst>
          <pc:docMk/>
          <pc:sldMk cId="2416036818" sldId="338"/>
        </pc:sldMkLst>
        <pc:spChg chg="mod">
          <ac:chgData name="Laurent Thiebaut (Nokia)" userId="S::laurent.thiebaut@nokia.com::5a0f83ef-4330-4e17-8828-eca8fc03b257" providerId="AD" clId="Web-{38AC650C-4133-C6D5-F83D-A9B1D86DA38A}" dt="2023-03-05T19:34:29.765" v="13" actId="20577"/>
          <ac:spMkLst>
            <pc:docMk/>
            <pc:sldMk cId="2416036818" sldId="338"/>
            <ac:spMk id="3" creationId="{85A38C5A-5EBC-4325-8F64-062DAE1CFEC0}"/>
          </ac:spMkLst>
        </pc:spChg>
        <pc:spChg chg="mod">
          <ac:chgData name="Laurent Thiebaut (Nokia)" userId="S::laurent.thiebaut@nokia.com::5a0f83ef-4330-4e17-8828-eca8fc03b257" providerId="AD" clId="Web-{38AC650C-4133-C6D5-F83D-A9B1D86DA38A}" dt="2023-03-05T19:39:27.513" v="61" actId="20577"/>
          <ac:spMkLst>
            <pc:docMk/>
            <pc:sldMk cId="2416036818" sldId="338"/>
            <ac:spMk id="5" creationId="{0A813F0E-7224-42E6-A359-B5A9B05FEE7A}"/>
          </ac:spMkLst>
        </pc:spChg>
        <pc:spChg chg="del">
          <ac:chgData name="Laurent Thiebaut (Nokia)" userId="S::laurent.thiebaut@nokia.com::5a0f83ef-4330-4e17-8828-eca8fc03b257" providerId="AD" clId="Web-{38AC650C-4133-C6D5-F83D-A9B1D86DA38A}" dt="2023-03-05T19:19:22.309" v="0"/>
          <ac:spMkLst>
            <pc:docMk/>
            <pc:sldMk cId="2416036818" sldId="338"/>
            <ac:spMk id="6" creationId="{1F0B4685-F92B-4FE4-B500-E8D7B05082F3}"/>
          </ac:spMkLst>
        </pc:spChg>
      </pc:sldChg>
      <pc:sldChg chg="del">
        <pc:chgData name="Laurent Thiebaut (Nokia)" userId="S::laurent.thiebaut@nokia.com::5a0f83ef-4330-4e17-8828-eca8fc03b257" providerId="AD" clId="Web-{38AC650C-4133-C6D5-F83D-A9B1D86DA38A}" dt="2023-03-05T19:43:44.085" v="171"/>
        <pc:sldMkLst>
          <pc:docMk/>
          <pc:sldMk cId="775159258" sldId="2134805356"/>
        </pc:sldMkLst>
      </pc:sldChg>
      <pc:sldChg chg="modSp">
        <pc:chgData name="Laurent Thiebaut (Nokia)" userId="S::laurent.thiebaut@nokia.com::5a0f83ef-4330-4e17-8828-eca8fc03b257" providerId="AD" clId="Web-{38AC650C-4133-C6D5-F83D-A9B1D86DA38A}" dt="2023-03-05T19:53:16.076" v="208" actId="20577"/>
        <pc:sldMkLst>
          <pc:docMk/>
          <pc:sldMk cId="2556045850" sldId="2134805565"/>
        </pc:sldMkLst>
        <pc:spChg chg="mod">
          <ac:chgData name="Laurent Thiebaut (Nokia)" userId="S::laurent.thiebaut@nokia.com::5a0f83ef-4330-4e17-8828-eca8fc03b257" providerId="AD" clId="Web-{38AC650C-4133-C6D5-F83D-A9B1D86DA38A}" dt="2023-03-05T19:52:33.356" v="198" actId="20577"/>
          <ac:spMkLst>
            <pc:docMk/>
            <pc:sldMk cId="2556045850" sldId="2134805565"/>
            <ac:spMk id="2" creationId="{F55F6DD9-9F73-4475-B4C0-0BD35C69E49D}"/>
          </ac:spMkLst>
        </pc:spChg>
        <pc:spChg chg="mod">
          <ac:chgData name="Laurent Thiebaut (Nokia)" userId="S::laurent.thiebaut@nokia.com::5a0f83ef-4330-4e17-8828-eca8fc03b257" providerId="AD" clId="Web-{38AC650C-4133-C6D5-F83D-A9B1D86DA38A}" dt="2023-03-05T19:52:14.293" v="196" actId="1076"/>
          <ac:spMkLst>
            <pc:docMk/>
            <pc:sldMk cId="2556045850" sldId="2134805565"/>
            <ac:spMk id="3" creationId="{506A8607-C5AE-48A7-9AC8-7B6F426DD14D}"/>
          </ac:spMkLst>
        </pc:spChg>
        <pc:spChg chg="mod">
          <ac:chgData name="Laurent Thiebaut (Nokia)" userId="S::laurent.thiebaut@nokia.com::5a0f83ef-4330-4e17-8828-eca8fc03b257" providerId="AD" clId="Web-{38AC650C-4133-C6D5-F83D-A9B1D86DA38A}" dt="2023-03-05T19:53:16.076" v="208" actId="20577"/>
          <ac:spMkLst>
            <pc:docMk/>
            <pc:sldMk cId="2556045850" sldId="2134805565"/>
            <ac:spMk id="4" creationId="{CD72C33D-DF40-4601-AF02-8DFD5A6EA958}"/>
          </ac:spMkLst>
        </pc:spChg>
      </pc:sldChg>
      <pc:sldChg chg="modSp">
        <pc:chgData name="Laurent Thiebaut (Nokia)" userId="S::laurent.thiebaut@nokia.com::5a0f83ef-4330-4e17-8828-eca8fc03b257" providerId="AD" clId="Web-{38AC650C-4133-C6D5-F83D-A9B1D86DA38A}" dt="2023-03-05T19:49:59.444" v="184" actId="20577"/>
        <pc:sldMkLst>
          <pc:docMk/>
          <pc:sldMk cId="374592939" sldId="2134805583"/>
        </pc:sldMkLst>
        <pc:spChg chg="mod">
          <ac:chgData name="Laurent Thiebaut (Nokia)" userId="S::laurent.thiebaut@nokia.com::5a0f83ef-4330-4e17-8828-eca8fc03b257" providerId="AD" clId="Web-{38AC650C-4133-C6D5-F83D-A9B1D86DA38A}" dt="2023-03-05T19:48:21.237" v="179" actId="20577"/>
          <ac:spMkLst>
            <pc:docMk/>
            <pc:sldMk cId="374592939" sldId="2134805583"/>
            <ac:spMk id="2" creationId="{F55F6DD9-9F73-4475-B4C0-0BD35C69E49D}"/>
          </ac:spMkLst>
        </pc:spChg>
        <pc:spChg chg="mod">
          <ac:chgData name="Laurent Thiebaut (Nokia)" userId="S::laurent.thiebaut@nokia.com::5a0f83ef-4330-4e17-8828-eca8fc03b257" providerId="AD" clId="Web-{38AC650C-4133-C6D5-F83D-A9B1D86DA38A}" dt="2023-03-05T19:49:59.444" v="184" actId="20577"/>
          <ac:spMkLst>
            <pc:docMk/>
            <pc:sldMk cId="374592939" sldId="2134805583"/>
            <ac:spMk id="4" creationId="{CD72C33D-DF40-4601-AF02-8DFD5A6EA958}"/>
          </ac:spMkLst>
        </pc:spChg>
      </pc:sldChg>
      <pc:sldChg chg="modSp">
        <pc:chgData name="Laurent Thiebaut (Nokia)" userId="S::laurent.thiebaut@nokia.com::5a0f83ef-4330-4e17-8828-eca8fc03b257" providerId="AD" clId="Web-{38AC650C-4133-C6D5-F83D-A9B1D86DA38A}" dt="2023-03-05T19:47:11.437" v="174" actId="20577"/>
        <pc:sldMkLst>
          <pc:docMk/>
          <pc:sldMk cId="681358297" sldId="2134805587"/>
        </pc:sldMkLst>
        <pc:spChg chg="mod">
          <ac:chgData name="Laurent Thiebaut (Nokia)" userId="S::laurent.thiebaut@nokia.com::5a0f83ef-4330-4e17-8828-eca8fc03b257" providerId="AD" clId="Web-{38AC650C-4133-C6D5-F83D-A9B1D86DA38A}" dt="2023-03-05T19:47:11.437" v="174" actId="20577"/>
          <ac:spMkLst>
            <pc:docMk/>
            <pc:sldMk cId="681358297" sldId="2134805587"/>
            <ac:spMk id="4" creationId="{CD72C33D-DF40-4601-AF02-8DFD5A6EA958}"/>
          </ac:spMkLst>
        </pc:spChg>
      </pc:sldChg>
      <pc:sldChg chg="delSp modSp">
        <pc:chgData name="Laurent Thiebaut (Nokia)" userId="S::laurent.thiebaut@nokia.com::5a0f83ef-4330-4e17-8828-eca8fc03b257" providerId="AD" clId="Web-{38AC650C-4133-C6D5-F83D-A9B1D86DA38A}" dt="2023-03-05T19:43:20.662" v="170" actId="20577"/>
        <pc:sldMkLst>
          <pc:docMk/>
          <pc:sldMk cId="945775949" sldId="2146846918"/>
        </pc:sldMkLst>
        <pc:spChg chg="del">
          <ac:chgData name="Laurent Thiebaut (Nokia)" userId="S::laurent.thiebaut@nokia.com::5a0f83ef-4330-4e17-8828-eca8fc03b257" providerId="AD" clId="Web-{38AC650C-4133-C6D5-F83D-A9B1D86DA38A}" dt="2023-03-05T19:41:48.018" v="105"/>
          <ac:spMkLst>
            <pc:docMk/>
            <pc:sldMk cId="945775949" sldId="2146846918"/>
            <ac:spMk id="2" creationId="{6D022F9A-2355-49D9-9476-5912F770B468}"/>
          </ac:spMkLst>
        </pc:spChg>
        <pc:spChg chg="mod">
          <ac:chgData name="Laurent Thiebaut (Nokia)" userId="S::laurent.thiebaut@nokia.com::5a0f83ef-4330-4e17-8828-eca8fc03b257" providerId="AD" clId="Web-{38AC650C-4133-C6D5-F83D-A9B1D86DA38A}" dt="2023-03-05T19:41:05.923" v="70"/>
          <ac:spMkLst>
            <pc:docMk/>
            <pc:sldMk cId="945775949" sldId="2146846918"/>
            <ac:spMk id="3" creationId="{85A38C5A-5EBC-4325-8F64-062DAE1CFEC0}"/>
          </ac:spMkLst>
        </pc:spChg>
        <pc:spChg chg="mod">
          <ac:chgData name="Laurent Thiebaut (Nokia)" userId="S::laurent.thiebaut@nokia.com::5a0f83ef-4330-4e17-8828-eca8fc03b257" providerId="AD" clId="Web-{38AC650C-4133-C6D5-F83D-A9B1D86DA38A}" dt="2023-03-05T19:41:10.235" v="72" actId="1076"/>
          <ac:spMkLst>
            <pc:docMk/>
            <pc:sldMk cId="945775949" sldId="2146846918"/>
            <ac:spMk id="4" creationId="{BD612997-8F8D-4939-8023-9B09970813F4}"/>
          </ac:spMkLst>
        </pc:spChg>
        <pc:spChg chg="mod">
          <ac:chgData name="Laurent Thiebaut (Nokia)" userId="S::laurent.thiebaut@nokia.com::5a0f83ef-4330-4e17-8828-eca8fc03b257" providerId="AD" clId="Web-{38AC650C-4133-C6D5-F83D-A9B1D86DA38A}" dt="2023-03-05T19:43:20.662" v="170" actId="20577"/>
          <ac:spMkLst>
            <pc:docMk/>
            <pc:sldMk cId="945775949" sldId="2146846918"/>
            <ac:spMk id="5" creationId="{0A813F0E-7224-42E6-A359-B5A9B05FEE7A}"/>
          </ac:spMkLst>
        </pc:spChg>
      </pc:sldChg>
      <pc:sldChg chg="del">
        <pc:chgData name="Laurent Thiebaut (Nokia)" userId="S::laurent.thiebaut@nokia.com::5a0f83ef-4330-4e17-8828-eca8fc03b257" providerId="AD" clId="Web-{38AC650C-4133-C6D5-F83D-A9B1D86DA38A}" dt="2023-03-05T19:51:55.354" v="194"/>
        <pc:sldMkLst>
          <pc:docMk/>
          <pc:sldMk cId="4116191399" sldId="2146846944"/>
        </pc:sldMkLst>
      </pc:sldChg>
      <pc:sldChg chg="ord">
        <pc:chgData name="Laurent Thiebaut (Nokia)" userId="S::laurent.thiebaut@nokia.com::5a0f83ef-4330-4e17-8828-eca8fc03b257" providerId="AD" clId="Web-{38AC650C-4133-C6D5-F83D-A9B1D86DA38A}" dt="2023-03-05T19:47:22.157" v="175"/>
        <pc:sldMkLst>
          <pc:docMk/>
          <pc:sldMk cId="968299826" sldId="2146847012"/>
        </pc:sldMkLst>
      </pc:sldChg>
      <pc:sldChg chg="modSp add ord replId">
        <pc:chgData name="Laurent Thiebaut (Nokia)" userId="S::laurent.thiebaut@nokia.com::5a0f83ef-4330-4e17-8828-eca8fc03b257" providerId="AD" clId="Web-{38AC650C-4133-C6D5-F83D-A9B1D86DA38A}" dt="2023-03-05T19:54:04.109" v="217" actId="20577"/>
        <pc:sldMkLst>
          <pc:docMk/>
          <pc:sldMk cId="1588995515" sldId="2146847019"/>
        </pc:sldMkLst>
        <pc:spChg chg="mod">
          <ac:chgData name="Laurent Thiebaut (Nokia)" userId="S::laurent.thiebaut@nokia.com::5a0f83ef-4330-4e17-8828-eca8fc03b257" providerId="AD" clId="Web-{38AC650C-4133-C6D5-F83D-A9B1D86DA38A}" dt="2023-03-05T19:54:04.109" v="217" actId="20577"/>
          <ac:spMkLst>
            <pc:docMk/>
            <pc:sldMk cId="1588995515" sldId="2146847019"/>
            <ac:spMk id="4" creationId="{CD72C33D-DF40-4601-AF02-8DFD5A6EA958}"/>
          </ac:spMkLst>
        </pc:spChg>
      </pc:sldChg>
    </pc:docChg>
  </pc:docChgLst>
  <pc:docChgLst>
    <pc:chgData name="Hietalahti, Hannu (Nokia - FI/Oulu)" userId="bcd6d86d-9ffc-4aa1-b5a6-083a51dd89a7" providerId="ADAL" clId="{4A5B0E51-00CD-416D-B11F-C16708EA3BDA}"/>
    <pc:docChg chg="undo custSel addSld delSld modSld">
      <pc:chgData name="Hietalahti, Hannu (Nokia - FI/Oulu)" userId="bcd6d86d-9ffc-4aa1-b5a6-083a51dd89a7" providerId="ADAL" clId="{4A5B0E51-00CD-416D-B11F-C16708EA3BDA}" dt="2022-11-25T14:29:21.892" v="3206" actId="20577"/>
      <pc:docMkLst>
        <pc:docMk/>
      </pc:docMkLst>
      <pc:sldChg chg="del">
        <pc:chgData name="Hietalahti, Hannu (Nokia - FI/Oulu)" userId="bcd6d86d-9ffc-4aa1-b5a6-083a51dd89a7" providerId="ADAL" clId="{4A5B0E51-00CD-416D-B11F-C16708EA3BDA}" dt="2022-11-25T11:48:05.872" v="1758" actId="2696"/>
        <pc:sldMkLst>
          <pc:docMk/>
          <pc:sldMk cId="1819896102" sldId="2134805586"/>
        </pc:sldMkLst>
      </pc:sldChg>
      <pc:sldChg chg="add del">
        <pc:chgData name="Hietalahti, Hannu (Nokia - FI/Oulu)" userId="bcd6d86d-9ffc-4aa1-b5a6-083a51dd89a7" providerId="ADAL" clId="{4A5B0E51-00CD-416D-B11F-C16708EA3BDA}" dt="2022-11-25T11:52:36.206" v="2168" actId="47"/>
        <pc:sldMkLst>
          <pc:docMk/>
          <pc:sldMk cId="4011519580" sldId="2134805586"/>
        </pc:sldMkLst>
      </pc:sldChg>
      <pc:sldChg chg="modSp mod">
        <pc:chgData name="Hietalahti, Hannu (Nokia - FI/Oulu)" userId="bcd6d86d-9ffc-4aa1-b5a6-083a51dd89a7" providerId="ADAL" clId="{4A5B0E51-00CD-416D-B11F-C16708EA3BDA}" dt="2022-11-25T11:48:14.980" v="1772" actId="20577"/>
        <pc:sldMkLst>
          <pc:docMk/>
          <pc:sldMk cId="493333457" sldId="2134805598"/>
        </pc:sldMkLst>
        <pc:spChg chg="mod">
          <ac:chgData name="Hietalahti, Hannu (Nokia - FI/Oulu)" userId="bcd6d86d-9ffc-4aa1-b5a6-083a51dd89a7" providerId="ADAL" clId="{4A5B0E51-00CD-416D-B11F-C16708EA3BDA}" dt="2022-11-25T11:48:14.980" v="1772" actId="20577"/>
          <ac:spMkLst>
            <pc:docMk/>
            <pc:sldMk cId="493333457" sldId="2134805598"/>
            <ac:spMk id="4" creationId="{B91515A7-343D-47E8-82B8-D58ED83CD3B1}"/>
          </ac:spMkLst>
        </pc:spChg>
      </pc:sldChg>
      <pc:sldChg chg="modSp mod">
        <pc:chgData name="Hietalahti, Hannu (Nokia - FI/Oulu)" userId="bcd6d86d-9ffc-4aa1-b5a6-083a51dd89a7" providerId="ADAL" clId="{4A5B0E51-00CD-416D-B11F-C16708EA3BDA}" dt="2022-11-25T11:09:55.831" v="269" actId="20577"/>
        <pc:sldMkLst>
          <pc:docMk/>
          <pc:sldMk cId="2701995069" sldId="2146846837"/>
        </pc:sldMkLst>
        <pc:spChg chg="mod">
          <ac:chgData name="Hietalahti, Hannu (Nokia - FI/Oulu)" userId="bcd6d86d-9ffc-4aa1-b5a6-083a51dd89a7" providerId="ADAL" clId="{4A5B0E51-00CD-416D-B11F-C16708EA3BDA}" dt="2022-11-25T11:09:55.831" v="269" actId="20577"/>
          <ac:spMkLst>
            <pc:docMk/>
            <pc:sldMk cId="2701995069" sldId="2146846837"/>
            <ac:spMk id="4" creationId="{CD72C33D-DF40-4601-AF02-8DFD5A6EA958}"/>
          </ac:spMkLst>
        </pc:spChg>
      </pc:sldChg>
      <pc:sldChg chg="modSp mod">
        <pc:chgData name="Hietalahti, Hannu (Nokia - FI/Oulu)" userId="bcd6d86d-9ffc-4aa1-b5a6-083a51dd89a7" providerId="ADAL" clId="{4A5B0E51-00CD-416D-B11F-C16708EA3BDA}" dt="2022-11-25T11:34:55.529" v="659" actId="20577"/>
        <pc:sldMkLst>
          <pc:docMk/>
          <pc:sldMk cId="1207088858" sldId="2146846838"/>
        </pc:sldMkLst>
        <pc:spChg chg="mod">
          <ac:chgData name="Hietalahti, Hannu (Nokia - FI/Oulu)" userId="bcd6d86d-9ffc-4aa1-b5a6-083a51dd89a7" providerId="ADAL" clId="{4A5B0E51-00CD-416D-B11F-C16708EA3BDA}" dt="2022-11-25T11:34:55.529" v="659" actId="20577"/>
          <ac:spMkLst>
            <pc:docMk/>
            <pc:sldMk cId="1207088858" sldId="2146846838"/>
            <ac:spMk id="5" creationId="{A560F786-3A6C-41F0-99EF-DFF4DE7F777C}"/>
          </ac:spMkLst>
        </pc:spChg>
      </pc:sldChg>
      <pc:sldChg chg="modSp mod">
        <pc:chgData name="Hietalahti, Hannu (Nokia - FI/Oulu)" userId="bcd6d86d-9ffc-4aa1-b5a6-083a51dd89a7" providerId="ADAL" clId="{4A5B0E51-00CD-416D-B11F-C16708EA3BDA}" dt="2022-11-25T11:46:28.440" v="1757" actId="20577"/>
        <pc:sldMkLst>
          <pc:docMk/>
          <pc:sldMk cId="3243838235" sldId="2146846839"/>
        </pc:sldMkLst>
        <pc:spChg chg="mod">
          <ac:chgData name="Hietalahti, Hannu (Nokia - FI/Oulu)" userId="bcd6d86d-9ffc-4aa1-b5a6-083a51dd89a7" providerId="ADAL" clId="{4A5B0E51-00CD-416D-B11F-C16708EA3BDA}" dt="2022-11-25T11:46:28.440" v="1757" actId="20577"/>
          <ac:spMkLst>
            <pc:docMk/>
            <pc:sldMk cId="3243838235" sldId="2146846839"/>
            <ac:spMk id="4" creationId="{CD72C33D-DF40-4601-AF02-8DFD5A6EA958}"/>
          </ac:spMkLst>
        </pc:spChg>
      </pc:sldChg>
      <pc:sldChg chg="modSp mod">
        <pc:chgData name="Hietalahti, Hannu (Nokia - FI/Oulu)" userId="bcd6d86d-9ffc-4aa1-b5a6-083a51dd89a7" providerId="ADAL" clId="{4A5B0E51-00CD-416D-B11F-C16708EA3BDA}" dt="2022-11-25T14:24:48.766" v="3192" actId="20577"/>
        <pc:sldMkLst>
          <pc:docMk/>
          <pc:sldMk cId="3193373667" sldId="2146846841"/>
        </pc:sldMkLst>
        <pc:spChg chg="mod">
          <ac:chgData name="Hietalahti, Hannu (Nokia - FI/Oulu)" userId="bcd6d86d-9ffc-4aa1-b5a6-083a51dd89a7" providerId="ADAL" clId="{4A5B0E51-00CD-416D-B11F-C16708EA3BDA}" dt="2022-11-25T14:22:18.701" v="3091" actId="20577"/>
          <ac:spMkLst>
            <pc:docMk/>
            <pc:sldMk cId="3193373667" sldId="2146846841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4A5B0E51-00CD-416D-B11F-C16708EA3BDA}" dt="2022-11-25T14:24:48.766" v="3192" actId="20577"/>
          <ac:spMkLst>
            <pc:docMk/>
            <pc:sldMk cId="3193373667" sldId="2146846841"/>
            <ac:spMk id="4" creationId="{CD72C33D-DF40-4601-AF02-8DFD5A6EA958}"/>
          </ac:spMkLst>
        </pc:spChg>
      </pc:sldChg>
      <pc:sldChg chg="addSp delSp modSp mod">
        <pc:chgData name="Hietalahti, Hannu (Nokia - FI/Oulu)" userId="bcd6d86d-9ffc-4aa1-b5a6-083a51dd89a7" providerId="ADAL" clId="{4A5B0E51-00CD-416D-B11F-C16708EA3BDA}" dt="2022-11-25T14:21:50.484" v="3076" actId="948"/>
        <pc:sldMkLst>
          <pc:docMk/>
          <pc:sldMk cId="867239777" sldId="2146846842"/>
        </pc:sldMkLst>
        <pc:spChg chg="mod">
          <ac:chgData name="Hietalahti, Hannu (Nokia - FI/Oulu)" userId="bcd6d86d-9ffc-4aa1-b5a6-083a51dd89a7" providerId="ADAL" clId="{4A5B0E51-00CD-416D-B11F-C16708EA3BDA}" dt="2022-11-25T14:14:07.751" v="3052" actId="6549"/>
          <ac:spMkLst>
            <pc:docMk/>
            <pc:sldMk cId="867239777" sldId="2146846842"/>
            <ac:spMk id="2" creationId="{F55F6DD9-9F73-4475-B4C0-0BD35C69E49D}"/>
          </ac:spMkLst>
        </pc:spChg>
        <pc:spChg chg="mod">
          <ac:chgData name="Hietalahti, Hannu (Nokia - FI/Oulu)" userId="bcd6d86d-9ffc-4aa1-b5a6-083a51dd89a7" providerId="ADAL" clId="{4A5B0E51-00CD-416D-B11F-C16708EA3BDA}" dt="2022-11-25T14:11:08.494" v="3026" actId="20577"/>
          <ac:spMkLst>
            <pc:docMk/>
            <pc:sldMk cId="867239777" sldId="2146846842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4A5B0E51-00CD-416D-B11F-C16708EA3BDA}" dt="2022-11-25T14:21:50.484" v="3076" actId="948"/>
          <ac:spMkLst>
            <pc:docMk/>
            <pc:sldMk cId="867239777" sldId="2146846842"/>
            <ac:spMk id="4" creationId="{CD72C33D-DF40-4601-AF02-8DFD5A6EA958}"/>
          </ac:spMkLst>
        </pc:spChg>
        <pc:spChg chg="add del mod">
          <ac:chgData name="Hietalahti, Hannu (Nokia - FI/Oulu)" userId="bcd6d86d-9ffc-4aa1-b5a6-083a51dd89a7" providerId="ADAL" clId="{4A5B0E51-00CD-416D-B11F-C16708EA3BDA}" dt="2022-11-25T14:17:24.292" v="3062"/>
          <ac:spMkLst>
            <pc:docMk/>
            <pc:sldMk cId="867239777" sldId="2146846842"/>
            <ac:spMk id="6" creationId="{C2EA77C6-2288-44A3-B34B-31E071BE856E}"/>
          </ac:spMkLst>
        </pc:spChg>
        <pc:spChg chg="add del mod">
          <ac:chgData name="Hietalahti, Hannu (Nokia - FI/Oulu)" userId="bcd6d86d-9ffc-4aa1-b5a6-083a51dd89a7" providerId="ADAL" clId="{4A5B0E51-00CD-416D-B11F-C16708EA3BDA}" dt="2022-11-25T14:17:35.111" v="3064"/>
          <ac:spMkLst>
            <pc:docMk/>
            <pc:sldMk cId="867239777" sldId="2146846842"/>
            <ac:spMk id="8" creationId="{B3F249CA-9B68-47CE-9957-7700A981BCEF}"/>
          </ac:spMkLst>
        </pc:spChg>
        <pc:graphicFrameChg chg="add del mod">
          <ac:chgData name="Hietalahti, Hannu (Nokia - FI/Oulu)" userId="bcd6d86d-9ffc-4aa1-b5a6-083a51dd89a7" providerId="ADAL" clId="{4A5B0E51-00CD-416D-B11F-C16708EA3BDA}" dt="2022-11-25T14:17:24.292" v="3062"/>
          <ac:graphicFrameMkLst>
            <pc:docMk/>
            <pc:sldMk cId="867239777" sldId="2146846842"/>
            <ac:graphicFrameMk id="5" creationId="{24A01EB0-9D5F-4BFF-9C77-1CA1C40D7F65}"/>
          </ac:graphicFrameMkLst>
        </pc:graphicFrameChg>
        <pc:graphicFrameChg chg="add del mod">
          <ac:chgData name="Hietalahti, Hannu (Nokia - FI/Oulu)" userId="bcd6d86d-9ffc-4aa1-b5a6-083a51dd89a7" providerId="ADAL" clId="{4A5B0E51-00CD-416D-B11F-C16708EA3BDA}" dt="2022-11-25T14:17:35.111" v="3064"/>
          <ac:graphicFrameMkLst>
            <pc:docMk/>
            <pc:sldMk cId="867239777" sldId="2146846842"/>
            <ac:graphicFrameMk id="7" creationId="{AF557ED3-188A-4F89-AB42-19FAD867557D}"/>
          </ac:graphicFrameMkLst>
        </pc:graphicFrameChg>
      </pc:sldChg>
      <pc:sldChg chg="modSp mod">
        <pc:chgData name="Hietalahti, Hannu (Nokia - FI/Oulu)" userId="bcd6d86d-9ffc-4aa1-b5a6-083a51dd89a7" providerId="ADAL" clId="{4A5B0E51-00CD-416D-B11F-C16708EA3BDA}" dt="2022-11-25T14:29:21.892" v="3206" actId="20577"/>
        <pc:sldMkLst>
          <pc:docMk/>
          <pc:sldMk cId="870368088" sldId="2146846953"/>
        </pc:sldMkLst>
        <pc:spChg chg="mod">
          <ac:chgData name="Hietalahti, Hannu (Nokia - FI/Oulu)" userId="bcd6d86d-9ffc-4aa1-b5a6-083a51dd89a7" providerId="ADAL" clId="{4A5B0E51-00CD-416D-B11F-C16708EA3BDA}" dt="2022-11-25T11:11:43.527" v="330" actId="20577"/>
          <ac:spMkLst>
            <pc:docMk/>
            <pc:sldMk cId="870368088" sldId="2146846953"/>
            <ac:spMk id="7" creationId="{549839A6-74B7-4FBB-BE42-38F844A55F8E}"/>
          </ac:spMkLst>
        </pc:spChg>
        <pc:graphicFrameChg chg="modGraphic">
          <ac:chgData name="Hietalahti, Hannu (Nokia - FI/Oulu)" userId="bcd6d86d-9ffc-4aa1-b5a6-083a51dd89a7" providerId="ADAL" clId="{4A5B0E51-00CD-416D-B11F-C16708EA3BDA}" dt="2022-11-25T14:29:21.892" v="3206" actId="20577"/>
          <ac:graphicFrameMkLst>
            <pc:docMk/>
            <pc:sldMk cId="870368088" sldId="2146846953"/>
            <ac:graphicFrameMk id="5" creationId="{72292819-8568-4BDF-9D17-E4BA66E2B6E4}"/>
          </ac:graphicFrameMkLst>
        </pc:graphicFrameChg>
      </pc:sldChg>
      <pc:sldChg chg="addSp delSp modSp add mod">
        <pc:chgData name="Hietalahti, Hannu (Nokia - FI/Oulu)" userId="bcd6d86d-9ffc-4aa1-b5a6-083a51dd89a7" providerId="ADAL" clId="{4A5B0E51-00CD-416D-B11F-C16708EA3BDA}" dt="2022-11-25T11:54:22.547" v="2272" actId="255"/>
        <pc:sldMkLst>
          <pc:docMk/>
          <pc:sldMk cId="2989177604" sldId="2146846954"/>
        </pc:sldMkLst>
        <pc:spChg chg="del">
          <ac:chgData name="Hietalahti, Hannu (Nokia - FI/Oulu)" userId="bcd6d86d-9ffc-4aa1-b5a6-083a51dd89a7" providerId="ADAL" clId="{4A5B0E51-00CD-416D-B11F-C16708EA3BDA}" dt="2022-11-25T11:49:52.736" v="1836" actId="478"/>
          <ac:spMkLst>
            <pc:docMk/>
            <pc:sldMk cId="2989177604" sldId="2146846954"/>
            <ac:spMk id="2" creationId="{F55F6DD9-9F73-4475-B4C0-0BD35C69E49D}"/>
          </ac:spMkLst>
        </pc:spChg>
        <pc:spChg chg="mod">
          <ac:chgData name="Hietalahti, Hannu (Nokia - FI/Oulu)" userId="bcd6d86d-9ffc-4aa1-b5a6-083a51dd89a7" providerId="ADAL" clId="{4A5B0E51-00CD-416D-B11F-C16708EA3BDA}" dt="2022-11-25T11:49:15.735" v="1835" actId="20577"/>
          <ac:spMkLst>
            <pc:docMk/>
            <pc:sldMk cId="2989177604" sldId="2146846954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4A5B0E51-00CD-416D-B11F-C16708EA3BDA}" dt="2022-11-25T11:54:22.547" v="2272" actId="255"/>
          <ac:spMkLst>
            <pc:docMk/>
            <pc:sldMk cId="2989177604" sldId="2146846954"/>
            <ac:spMk id="4" creationId="{CD72C33D-DF40-4601-AF02-8DFD5A6EA958}"/>
          </ac:spMkLst>
        </pc:spChg>
        <pc:spChg chg="add del mod">
          <ac:chgData name="Hietalahti, Hannu (Nokia - FI/Oulu)" userId="bcd6d86d-9ffc-4aa1-b5a6-083a51dd89a7" providerId="ADAL" clId="{4A5B0E51-00CD-416D-B11F-C16708EA3BDA}" dt="2022-11-25T11:49:59.047" v="1837" actId="478"/>
          <ac:spMkLst>
            <pc:docMk/>
            <pc:sldMk cId="2989177604" sldId="2146846954"/>
            <ac:spMk id="6" creationId="{06028DFD-15A2-48AD-A6FE-5247772E0711}"/>
          </ac:spMkLst>
        </pc:spChg>
        <pc:spChg chg="add mod">
          <ac:chgData name="Hietalahti, Hannu (Nokia - FI/Oulu)" userId="bcd6d86d-9ffc-4aa1-b5a6-083a51dd89a7" providerId="ADAL" clId="{4A5B0E51-00CD-416D-B11F-C16708EA3BDA}" dt="2022-11-25T11:50:25.518" v="1878" actId="6549"/>
          <ac:spMkLst>
            <pc:docMk/>
            <pc:sldMk cId="2989177604" sldId="2146846954"/>
            <ac:spMk id="7" creationId="{09834F37-5DE0-420F-B9B9-BC28BF127BA0}"/>
          </ac:spMkLst>
        </pc:spChg>
      </pc:sldChg>
    </pc:docChg>
  </pc:docChgLst>
  <pc:docChgLst>
    <pc:chgData name="Casati, Alessio (Nokia - GB)" userId="S::alessio.casati@nokia.com::6f050b0a-bf61-49f1-93be-076af52cf2e7" providerId="AD" clId="Web-{891F5E57-705D-A8A1-F8EE-D10F7E9BAE83}"/>
    <pc:docChg chg="addSld delSld modSld sldOrd">
      <pc:chgData name="Casati, Alessio (Nokia - GB)" userId="S::alessio.casati@nokia.com::6f050b0a-bf61-49f1-93be-076af52cf2e7" providerId="AD" clId="Web-{891F5E57-705D-A8A1-F8EE-D10F7E9BAE83}" dt="2021-11-29T14:59:20.375" v="319" actId="20577"/>
      <pc:docMkLst>
        <pc:docMk/>
      </pc:docMkLst>
      <pc:sldChg chg="del">
        <pc:chgData name="Casati, Alessio (Nokia - GB)" userId="S::alessio.casati@nokia.com::6f050b0a-bf61-49f1-93be-076af52cf2e7" providerId="AD" clId="Web-{891F5E57-705D-A8A1-F8EE-D10F7E9BAE83}" dt="2021-11-29T14:49:09.770" v="177"/>
        <pc:sldMkLst>
          <pc:docMk/>
          <pc:sldMk cId="1528937751" sldId="2134805528"/>
        </pc:sldMkLst>
      </pc:sldChg>
      <pc:sldChg chg="del">
        <pc:chgData name="Casati, Alessio (Nokia - GB)" userId="S::alessio.casati@nokia.com::6f050b0a-bf61-49f1-93be-076af52cf2e7" providerId="AD" clId="Web-{891F5E57-705D-A8A1-F8EE-D10F7E9BAE83}" dt="2021-11-29T14:49:15.254" v="178"/>
        <pc:sldMkLst>
          <pc:docMk/>
          <pc:sldMk cId="3220459028" sldId="2134805544"/>
        </pc:sldMkLst>
      </pc:sldChg>
      <pc:sldChg chg="modSp">
        <pc:chgData name="Casati, Alessio (Nokia - GB)" userId="S::alessio.casati@nokia.com::6f050b0a-bf61-49f1-93be-076af52cf2e7" providerId="AD" clId="Web-{891F5E57-705D-A8A1-F8EE-D10F7E9BAE83}" dt="2021-11-29T14:49:25.614" v="180" actId="20577"/>
        <pc:sldMkLst>
          <pc:docMk/>
          <pc:sldMk cId="3612758426" sldId="2134805545"/>
        </pc:sldMkLst>
        <pc:spChg chg="mod">
          <ac:chgData name="Casati, Alessio (Nokia - GB)" userId="S::alessio.casati@nokia.com::6f050b0a-bf61-49f1-93be-076af52cf2e7" providerId="AD" clId="Web-{891F5E57-705D-A8A1-F8EE-D10F7E9BAE83}" dt="2021-11-29T14:49:25.614" v="180" actId="20577"/>
          <ac:spMkLst>
            <pc:docMk/>
            <pc:sldMk cId="3612758426" sldId="2134805545"/>
            <ac:spMk id="4" creationId="{5C8D5078-B8D0-4095-8466-64F7613FE8A6}"/>
          </ac:spMkLst>
        </pc:spChg>
      </pc:sldChg>
      <pc:sldChg chg="modSp">
        <pc:chgData name="Casati, Alessio (Nokia - GB)" userId="S::alessio.casati@nokia.com::6f050b0a-bf61-49f1-93be-076af52cf2e7" providerId="AD" clId="Web-{891F5E57-705D-A8A1-F8EE-D10F7E9BAE83}" dt="2021-11-29T14:50:01.005" v="191" actId="20577"/>
        <pc:sldMkLst>
          <pc:docMk/>
          <pc:sldMk cId="1726769432" sldId="2134805546"/>
        </pc:sldMkLst>
        <pc:spChg chg="mod">
          <ac:chgData name="Casati, Alessio (Nokia - GB)" userId="S::alessio.casati@nokia.com::6f050b0a-bf61-49f1-93be-076af52cf2e7" providerId="AD" clId="Web-{891F5E57-705D-A8A1-F8EE-D10F7E9BAE83}" dt="2021-11-29T14:50:01.005" v="191" actId="20577"/>
          <ac:spMkLst>
            <pc:docMk/>
            <pc:sldMk cId="1726769432" sldId="2134805546"/>
            <ac:spMk id="4" creationId="{5C8D5078-B8D0-4095-8466-64F7613FE8A6}"/>
          </ac:spMkLst>
        </pc:spChg>
      </pc:sldChg>
      <pc:sldChg chg="modSp">
        <pc:chgData name="Casati, Alessio (Nokia - GB)" userId="S::alessio.casati@nokia.com::6f050b0a-bf61-49f1-93be-076af52cf2e7" providerId="AD" clId="Web-{891F5E57-705D-A8A1-F8EE-D10F7E9BAE83}" dt="2021-11-29T14:48:57.770" v="176" actId="20577"/>
        <pc:sldMkLst>
          <pc:docMk/>
          <pc:sldMk cId="2524067874" sldId="2134805547"/>
        </pc:sldMkLst>
        <pc:spChg chg="mod">
          <ac:chgData name="Casati, Alessio (Nokia - GB)" userId="S::alessio.casati@nokia.com::6f050b0a-bf61-49f1-93be-076af52cf2e7" providerId="AD" clId="Web-{891F5E57-705D-A8A1-F8EE-D10F7E9BAE83}" dt="2021-11-29T14:48:57.770" v="176" actId="20577"/>
          <ac:spMkLst>
            <pc:docMk/>
            <pc:sldMk cId="2524067874" sldId="2134805547"/>
            <ac:spMk id="4" creationId="{5C8D5078-B8D0-4095-8466-64F7613FE8A6}"/>
          </ac:spMkLst>
        </pc:spChg>
      </pc:sldChg>
      <pc:sldChg chg="modSp">
        <pc:chgData name="Casati, Alessio (Nokia - GB)" userId="S::alessio.casati@nokia.com::6f050b0a-bf61-49f1-93be-076af52cf2e7" providerId="AD" clId="Web-{891F5E57-705D-A8A1-F8EE-D10F7E9BAE83}" dt="2021-11-29T14:52:29.211" v="220" actId="20577"/>
        <pc:sldMkLst>
          <pc:docMk/>
          <pc:sldMk cId="679470361" sldId="2134805548"/>
        </pc:sldMkLst>
        <pc:spChg chg="mod">
          <ac:chgData name="Casati, Alessio (Nokia - GB)" userId="S::alessio.casati@nokia.com::6f050b0a-bf61-49f1-93be-076af52cf2e7" providerId="AD" clId="Web-{891F5E57-705D-A8A1-F8EE-D10F7E9BAE83}" dt="2021-11-29T14:52:29.211" v="220" actId="20577"/>
          <ac:spMkLst>
            <pc:docMk/>
            <pc:sldMk cId="679470361" sldId="2134805548"/>
            <ac:spMk id="4" creationId="{5C8D5078-B8D0-4095-8466-64F7613FE8A6}"/>
          </ac:spMkLst>
        </pc:spChg>
      </pc:sldChg>
      <pc:sldChg chg="del">
        <pc:chgData name="Casati, Alessio (Nokia - GB)" userId="S::alessio.casati@nokia.com::6f050b0a-bf61-49f1-93be-076af52cf2e7" providerId="AD" clId="Web-{891F5E57-705D-A8A1-F8EE-D10F7E9BAE83}" dt="2021-11-29T14:51:56.492" v="214"/>
        <pc:sldMkLst>
          <pc:docMk/>
          <pc:sldMk cId="1082495522" sldId="2134805549"/>
        </pc:sldMkLst>
      </pc:sldChg>
      <pc:sldChg chg="modSp">
        <pc:chgData name="Casati, Alessio (Nokia - GB)" userId="S::alessio.casati@nokia.com::6f050b0a-bf61-49f1-93be-076af52cf2e7" providerId="AD" clId="Web-{891F5E57-705D-A8A1-F8EE-D10F7E9BAE83}" dt="2021-11-29T14:44:50.421" v="58" actId="20577"/>
        <pc:sldMkLst>
          <pc:docMk/>
          <pc:sldMk cId="1148163688" sldId="2134805589"/>
        </pc:sldMkLst>
        <pc:spChg chg="mod">
          <ac:chgData name="Casati, Alessio (Nokia - GB)" userId="S::alessio.casati@nokia.com::6f050b0a-bf61-49f1-93be-076af52cf2e7" providerId="AD" clId="Web-{891F5E57-705D-A8A1-F8EE-D10F7E9BAE83}" dt="2021-11-29T14:44:50.421" v="58" actId="20577"/>
          <ac:spMkLst>
            <pc:docMk/>
            <pc:sldMk cId="1148163688" sldId="2134805589"/>
            <ac:spMk id="4" creationId="{CD72C33D-DF40-4601-AF02-8DFD5A6EA958}"/>
          </ac:spMkLst>
        </pc:spChg>
        <pc:graphicFrameChg chg="mod modGraphic">
          <ac:chgData name="Casati, Alessio (Nokia - GB)" userId="S::alessio.casati@nokia.com::6f050b0a-bf61-49f1-93be-076af52cf2e7" providerId="AD" clId="Web-{891F5E57-705D-A8A1-F8EE-D10F7E9BAE83}" dt="2021-11-29T14:44:09.123" v="38" actId="1076"/>
          <ac:graphicFrameMkLst>
            <pc:docMk/>
            <pc:sldMk cId="1148163688" sldId="2134805589"/>
            <ac:graphicFrameMk id="5" creationId="{147F1A6A-0E16-4C84-8E82-5039900CDD75}"/>
          </ac:graphicFrameMkLst>
        </pc:graphicFrameChg>
      </pc:sldChg>
      <pc:sldChg chg="modSp add ord replId">
        <pc:chgData name="Casati, Alessio (Nokia - GB)" userId="S::alessio.casati@nokia.com::6f050b0a-bf61-49f1-93be-076af52cf2e7" providerId="AD" clId="Web-{891F5E57-705D-A8A1-F8EE-D10F7E9BAE83}" dt="2021-11-29T14:52:22.055" v="218"/>
        <pc:sldMkLst>
          <pc:docMk/>
          <pc:sldMk cId="765313957" sldId="2134805590"/>
        </pc:sldMkLst>
        <pc:spChg chg="mod">
          <ac:chgData name="Casati, Alessio (Nokia - GB)" userId="S::alessio.casati@nokia.com::6f050b0a-bf61-49f1-93be-076af52cf2e7" providerId="AD" clId="Web-{891F5E57-705D-A8A1-F8EE-D10F7E9BAE83}" dt="2021-11-29T14:52:14.773" v="217" actId="20577"/>
          <ac:spMkLst>
            <pc:docMk/>
            <pc:sldMk cId="765313957" sldId="2134805590"/>
            <ac:spMk id="4" creationId="{5C8D5078-B8D0-4095-8466-64F7613FE8A6}"/>
          </ac:spMkLst>
        </pc:spChg>
      </pc:sldChg>
      <pc:sldChg chg="add del replId">
        <pc:chgData name="Casati, Alessio (Nokia - GB)" userId="S::alessio.casati@nokia.com::6f050b0a-bf61-49f1-93be-076af52cf2e7" providerId="AD" clId="Web-{891F5E57-705D-A8A1-F8EE-D10F7E9BAE83}" dt="2021-11-29T14:56:51.122" v="284"/>
        <pc:sldMkLst>
          <pc:docMk/>
          <pc:sldMk cId="645542497" sldId="2134805591"/>
        </pc:sldMkLst>
      </pc:sldChg>
      <pc:sldChg chg="modSp add replId">
        <pc:chgData name="Casati, Alessio (Nokia - GB)" userId="S::alessio.casati@nokia.com::6f050b0a-bf61-49f1-93be-076af52cf2e7" providerId="AD" clId="Web-{891F5E57-705D-A8A1-F8EE-D10F7E9BAE83}" dt="2021-11-29T14:57:42.654" v="310" actId="20577"/>
        <pc:sldMkLst>
          <pc:docMk/>
          <pc:sldMk cId="1787110061" sldId="2134805592"/>
        </pc:sldMkLst>
        <pc:spChg chg="mod">
          <ac:chgData name="Casati, Alessio (Nokia - GB)" userId="S::alessio.casati@nokia.com::6f050b0a-bf61-49f1-93be-076af52cf2e7" providerId="AD" clId="Web-{891F5E57-705D-A8A1-F8EE-D10F7E9BAE83}" dt="2021-11-29T14:56:50.231" v="283" actId="20577"/>
          <ac:spMkLst>
            <pc:docMk/>
            <pc:sldMk cId="1787110061" sldId="2134805592"/>
            <ac:spMk id="2" creationId="{9F31353A-D41F-4CEF-B45F-7706562425B6}"/>
          </ac:spMkLst>
        </pc:spChg>
        <pc:spChg chg="mod">
          <ac:chgData name="Casati, Alessio (Nokia - GB)" userId="S::alessio.casati@nokia.com::6f050b0a-bf61-49f1-93be-076af52cf2e7" providerId="AD" clId="Web-{891F5E57-705D-A8A1-F8EE-D10F7E9BAE83}" dt="2021-11-29T14:54:11.963" v="272" actId="20577"/>
          <ac:spMkLst>
            <pc:docMk/>
            <pc:sldMk cId="1787110061" sldId="2134805592"/>
            <ac:spMk id="3" creationId="{79F23BEF-877A-4273-A1A7-C381CB9FFA3C}"/>
          </ac:spMkLst>
        </pc:spChg>
        <pc:spChg chg="mod">
          <ac:chgData name="Casati, Alessio (Nokia - GB)" userId="S::alessio.casati@nokia.com::6f050b0a-bf61-49f1-93be-076af52cf2e7" providerId="AD" clId="Web-{891F5E57-705D-A8A1-F8EE-D10F7E9BAE83}" dt="2021-11-29T14:57:42.654" v="310" actId="20577"/>
          <ac:spMkLst>
            <pc:docMk/>
            <pc:sldMk cId="1787110061" sldId="2134805592"/>
            <ac:spMk id="4" creationId="{5C8D5078-B8D0-4095-8466-64F7613FE8A6}"/>
          </ac:spMkLst>
        </pc:spChg>
      </pc:sldChg>
      <pc:sldChg chg="modSp add replId">
        <pc:chgData name="Casati, Alessio (Nokia - GB)" userId="S::alessio.casati@nokia.com::6f050b0a-bf61-49f1-93be-076af52cf2e7" providerId="AD" clId="Web-{891F5E57-705D-A8A1-F8EE-D10F7E9BAE83}" dt="2021-11-29T14:59:20.375" v="319" actId="20577"/>
        <pc:sldMkLst>
          <pc:docMk/>
          <pc:sldMk cId="954876516" sldId="2134805593"/>
        </pc:sldMkLst>
        <pc:spChg chg="mod">
          <ac:chgData name="Casati, Alessio (Nokia - GB)" userId="S::alessio.casati@nokia.com::6f050b0a-bf61-49f1-93be-076af52cf2e7" providerId="AD" clId="Web-{891F5E57-705D-A8A1-F8EE-D10F7E9BAE83}" dt="2021-11-29T14:53:53.009" v="270" actId="1076"/>
          <ac:spMkLst>
            <pc:docMk/>
            <pc:sldMk cId="954876516" sldId="2134805593"/>
            <ac:spMk id="2" creationId="{673AE4A4-F521-4B46-BB77-BDFFF6278B02}"/>
          </ac:spMkLst>
        </pc:spChg>
        <pc:spChg chg="mod">
          <ac:chgData name="Casati, Alessio (Nokia - GB)" userId="S::alessio.casati@nokia.com::6f050b0a-bf61-49f1-93be-076af52cf2e7" providerId="AD" clId="Web-{891F5E57-705D-A8A1-F8EE-D10F7E9BAE83}" dt="2021-11-29T14:59:20.375" v="319" actId="20577"/>
          <ac:spMkLst>
            <pc:docMk/>
            <pc:sldMk cId="954876516" sldId="2134805593"/>
            <ac:spMk id="7" creationId="{51855F48-622D-49D1-8300-678891D711F6}"/>
          </ac:spMkLst>
        </pc:spChg>
      </pc:sldChg>
    </pc:docChg>
  </pc:docChgLst>
  <pc:docChgLst>
    <pc:chgData name="Liebhart, Rainer (Nokia - DE/Munich)" userId="S::rainer.liebhart@nokia.com::9d27e965-bed7-441e-8c07-02c758a9258d" providerId="AD" clId="Web-{8679C09F-5039-2000-ABB9-CE39E270BCD6}"/>
    <pc:docChg chg="delSld modSld">
      <pc:chgData name="Liebhart, Rainer (Nokia - DE/Munich)" userId="S::rainer.liebhart@nokia.com::9d27e965-bed7-441e-8c07-02c758a9258d" providerId="AD" clId="Web-{8679C09F-5039-2000-ABB9-CE39E270BCD6}" dt="2021-04-21T17:13:38.900" v="2"/>
      <pc:docMkLst>
        <pc:docMk/>
      </pc:docMkLst>
      <pc:sldChg chg="addSp delSp modSp">
        <pc:chgData name="Liebhart, Rainer (Nokia - DE/Munich)" userId="S::rainer.liebhart@nokia.com::9d27e965-bed7-441e-8c07-02c758a9258d" providerId="AD" clId="Web-{8679C09F-5039-2000-ABB9-CE39E270BCD6}" dt="2021-04-21T17:13:38.900" v="2"/>
        <pc:sldMkLst>
          <pc:docMk/>
          <pc:sldMk cId="1886061748" sldId="355"/>
        </pc:sldMkLst>
        <pc:picChg chg="add del mod">
          <ac:chgData name="Liebhart, Rainer (Nokia - DE/Munich)" userId="S::rainer.liebhart@nokia.com::9d27e965-bed7-441e-8c07-02c758a9258d" providerId="AD" clId="Web-{8679C09F-5039-2000-ABB9-CE39E270BCD6}" dt="2021-04-21T17:13:38.900" v="2"/>
          <ac:picMkLst>
            <pc:docMk/>
            <pc:sldMk cId="1886061748" sldId="355"/>
            <ac:picMk id="5" creationId="{9B645F44-0F0C-463D-A627-938239A07041}"/>
          </ac:picMkLst>
        </pc:picChg>
      </pc:sldChg>
      <pc:sldChg chg="del">
        <pc:chgData name="Liebhart, Rainer (Nokia - DE/Munich)" userId="S::rainer.liebhart@nokia.com::9d27e965-bed7-441e-8c07-02c758a9258d" providerId="AD" clId="Web-{8679C09F-5039-2000-ABB9-CE39E270BCD6}" dt="2021-04-21T17:13:27.525" v="0"/>
        <pc:sldMkLst>
          <pc:docMk/>
          <pc:sldMk cId="3887047611" sldId="372"/>
        </pc:sldMkLst>
      </pc:sldChg>
    </pc:docChg>
  </pc:docChgLst>
  <pc:docChgLst>
    <pc:chgData name="Cai, Simon (NSB - CN/Chengdu)" userId="37152ebf-cb41-4a71-820f-4428dc623117" providerId="ADAL" clId="{E082F80F-A11F-44DD-9D0A-CDD82FD8F100}"/>
    <pc:docChg chg="custSel modSld">
      <pc:chgData name="Cai, Simon (NSB - CN/Chengdu)" userId="37152ebf-cb41-4a71-820f-4428dc623117" providerId="ADAL" clId="{E082F80F-A11F-44DD-9D0A-CDD82FD8F100}" dt="2021-04-23T07:50:11.695" v="259" actId="20577"/>
      <pc:docMkLst>
        <pc:docMk/>
      </pc:docMkLst>
      <pc:sldChg chg="addSp modSp">
        <pc:chgData name="Cai, Simon (NSB - CN/Chengdu)" userId="37152ebf-cb41-4a71-820f-4428dc623117" providerId="ADAL" clId="{E082F80F-A11F-44DD-9D0A-CDD82FD8F100}" dt="2021-04-23T07:50:11.695" v="259" actId="20577"/>
        <pc:sldMkLst>
          <pc:docMk/>
          <pc:sldMk cId="1648074745" sldId="2134805413"/>
        </pc:sldMkLst>
        <pc:spChg chg="add mod">
          <ac:chgData name="Cai, Simon (NSB - CN/Chengdu)" userId="37152ebf-cb41-4a71-820f-4428dc623117" providerId="ADAL" clId="{E082F80F-A11F-44DD-9D0A-CDD82FD8F100}" dt="2021-04-23T07:45:30.481" v="192" actId="1036"/>
          <ac:spMkLst>
            <pc:docMk/>
            <pc:sldMk cId="1648074745" sldId="2134805413"/>
            <ac:spMk id="6" creationId="{73ABFF06-0EEA-4A2B-8C72-B6058B36F449}"/>
          </ac:spMkLst>
        </pc:spChg>
        <pc:spChg chg="add mod">
          <ac:chgData name="Cai, Simon (NSB - CN/Chengdu)" userId="37152ebf-cb41-4a71-820f-4428dc623117" providerId="ADAL" clId="{E082F80F-A11F-44DD-9D0A-CDD82FD8F100}" dt="2021-04-23T07:45:46.412" v="195" actId="1076"/>
          <ac:spMkLst>
            <pc:docMk/>
            <pc:sldMk cId="1648074745" sldId="2134805413"/>
            <ac:spMk id="8" creationId="{C51D9309-E162-47D5-8EFF-13B2620D1184}"/>
          </ac:spMkLst>
        </pc:spChg>
        <pc:spChg chg="add mod">
          <ac:chgData name="Cai, Simon (NSB - CN/Chengdu)" userId="37152ebf-cb41-4a71-820f-4428dc623117" providerId="ADAL" clId="{E082F80F-A11F-44DD-9D0A-CDD82FD8F100}" dt="2021-04-23T07:50:11.695" v="259" actId="20577"/>
          <ac:spMkLst>
            <pc:docMk/>
            <pc:sldMk cId="1648074745" sldId="2134805413"/>
            <ac:spMk id="9" creationId="{9D289FD0-4155-436E-ACFC-A10D21342C27}"/>
          </ac:spMkLst>
        </pc:spChg>
        <pc:spChg chg="mod">
          <ac:chgData name="Cai, Simon (NSB - CN/Chengdu)" userId="37152ebf-cb41-4a71-820f-4428dc623117" providerId="ADAL" clId="{E082F80F-A11F-44DD-9D0A-CDD82FD8F100}" dt="2021-04-23T07:25:37.825" v="2"/>
          <ac:spMkLst>
            <pc:docMk/>
            <pc:sldMk cId="1648074745" sldId="2134805413"/>
            <ac:spMk id="11" creationId="{8A9F430C-4E25-4C04-8EA9-859A6775256E}"/>
          </ac:spMkLst>
        </pc:spChg>
      </pc:sldChg>
    </pc:docChg>
  </pc:docChgLst>
  <pc:docChgLst>
    <pc:chgData name="Hannu Hietalahti (Nokia)" userId="bcd6d86d-9ffc-4aa1-b5a6-083a51dd89a7" providerId="ADAL" clId="{4A5B0E51-00CD-416D-B11F-C16708EA3BDA}"/>
    <pc:docChg chg="undo redo custSel modSld">
      <pc:chgData name="Hannu Hietalahti (Nokia)" userId="bcd6d86d-9ffc-4aa1-b5a6-083a51dd89a7" providerId="ADAL" clId="{4A5B0E51-00CD-416D-B11F-C16708EA3BDA}" dt="2022-11-29T08:01:45.450" v="1151" actId="20577"/>
      <pc:docMkLst>
        <pc:docMk/>
      </pc:docMkLst>
      <pc:sldChg chg="modSp mod">
        <pc:chgData name="Hannu Hietalahti (Nokia)" userId="bcd6d86d-9ffc-4aa1-b5a6-083a51dd89a7" providerId="ADAL" clId="{4A5B0E51-00CD-416D-B11F-C16708EA3BDA}" dt="2022-11-25T17:05:37.860" v="487" actId="20577"/>
        <pc:sldMkLst>
          <pc:docMk/>
          <pc:sldMk cId="2843296580" sldId="2134805600"/>
        </pc:sldMkLst>
        <pc:spChg chg="mod">
          <ac:chgData name="Hannu Hietalahti (Nokia)" userId="bcd6d86d-9ffc-4aa1-b5a6-083a51dd89a7" providerId="ADAL" clId="{4A5B0E51-00CD-416D-B11F-C16708EA3BDA}" dt="2022-11-25T17:05:37.860" v="487" actId="20577"/>
          <ac:spMkLst>
            <pc:docMk/>
            <pc:sldMk cId="2843296580" sldId="2134805600"/>
            <ac:spMk id="4" creationId="{B91515A7-343D-47E8-82B8-D58ED83CD3B1}"/>
          </ac:spMkLst>
        </pc:spChg>
      </pc:sldChg>
      <pc:sldChg chg="modSp mod">
        <pc:chgData name="Hannu Hietalahti (Nokia)" userId="bcd6d86d-9ffc-4aa1-b5a6-083a51dd89a7" providerId="ADAL" clId="{4A5B0E51-00CD-416D-B11F-C16708EA3BDA}" dt="2022-11-25T16:38:51.878" v="69" actId="20577"/>
        <pc:sldMkLst>
          <pc:docMk/>
          <pc:sldMk cId="2701995069" sldId="2146846837"/>
        </pc:sldMkLst>
        <pc:spChg chg="mod">
          <ac:chgData name="Hannu Hietalahti (Nokia)" userId="bcd6d86d-9ffc-4aa1-b5a6-083a51dd89a7" providerId="ADAL" clId="{4A5B0E51-00CD-416D-B11F-C16708EA3BDA}" dt="2022-11-25T16:38:51.878" v="69" actId="20577"/>
          <ac:spMkLst>
            <pc:docMk/>
            <pc:sldMk cId="2701995069" sldId="2146846837"/>
            <ac:spMk id="4" creationId="{CD72C33D-DF40-4601-AF02-8DFD5A6EA958}"/>
          </ac:spMkLst>
        </pc:spChg>
      </pc:sldChg>
      <pc:sldChg chg="modSp mod">
        <pc:chgData name="Hannu Hietalahti (Nokia)" userId="bcd6d86d-9ffc-4aa1-b5a6-083a51dd89a7" providerId="ADAL" clId="{4A5B0E51-00CD-416D-B11F-C16708EA3BDA}" dt="2022-11-25T16:43:56.845" v="264" actId="20577"/>
        <pc:sldMkLst>
          <pc:docMk/>
          <pc:sldMk cId="1207088858" sldId="2146846838"/>
        </pc:sldMkLst>
        <pc:spChg chg="mod">
          <ac:chgData name="Hannu Hietalahti (Nokia)" userId="bcd6d86d-9ffc-4aa1-b5a6-083a51dd89a7" providerId="ADAL" clId="{4A5B0E51-00CD-416D-B11F-C16708EA3BDA}" dt="2022-11-25T16:43:56.845" v="264" actId="20577"/>
          <ac:spMkLst>
            <pc:docMk/>
            <pc:sldMk cId="1207088858" sldId="2146846838"/>
            <ac:spMk id="5" creationId="{A560F786-3A6C-41F0-99EF-DFF4DE7F777C}"/>
          </ac:spMkLst>
        </pc:spChg>
      </pc:sldChg>
      <pc:sldChg chg="modSp mod">
        <pc:chgData name="Hannu Hietalahti (Nokia)" userId="bcd6d86d-9ffc-4aa1-b5a6-083a51dd89a7" providerId="ADAL" clId="{4A5B0E51-00CD-416D-B11F-C16708EA3BDA}" dt="2022-11-29T08:01:45.450" v="1151" actId="20577"/>
        <pc:sldMkLst>
          <pc:docMk/>
          <pc:sldMk cId="3243838235" sldId="2146846839"/>
        </pc:sldMkLst>
        <pc:spChg chg="mod">
          <ac:chgData name="Hannu Hietalahti (Nokia)" userId="bcd6d86d-9ffc-4aa1-b5a6-083a51dd89a7" providerId="ADAL" clId="{4A5B0E51-00CD-416D-B11F-C16708EA3BDA}" dt="2022-11-29T08:01:45.450" v="1151" actId="20577"/>
          <ac:spMkLst>
            <pc:docMk/>
            <pc:sldMk cId="3243838235" sldId="2146846839"/>
            <ac:spMk id="4" creationId="{CD72C33D-DF40-4601-AF02-8DFD5A6EA958}"/>
          </ac:spMkLst>
        </pc:spChg>
      </pc:sldChg>
      <pc:sldChg chg="modSp mod">
        <pc:chgData name="Hannu Hietalahti (Nokia)" userId="bcd6d86d-9ffc-4aa1-b5a6-083a51dd89a7" providerId="ADAL" clId="{4A5B0E51-00CD-416D-B11F-C16708EA3BDA}" dt="2022-11-25T16:56:03.219" v="417"/>
        <pc:sldMkLst>
          <pc:docMk/>
          <pc:sldMk cId="3193373667" sldId="2146846841"/>
        </pc:sldMkLst>
        <pc:spChg chg="mod">
          <ac:chgData name="Hannu Hietalahti (Nokia)" userId="bcd6d86d-9ffc-4aa1-b5a6-083a51dd89a7" providerId="ADAL" clId="{4A5B0E51-00CD-416D-B11F-C16708EA3BDA}" dt="2022-11-25T16:56:03.219" v="417"/>
          <ac:spMkLst>
            <pc:docMk/>
            <pc:sldMk cId="3193373667" sldId="2146846841"/>
            <ac:spMk id="4" creationId="{CD72C33D-DF40-4601-AF02-8DFD5A6EA958}"/>
          </ac:spMkLst>
        </pc:spChg>
      </pc:sldChg>
      <pc:sldChg chg="modSp mod">
        <pc:chgData name="Hannu Hietalahti (Nokia)" userId="bcd6d86d-9ffc-4aa1-b5a6-083a51dd89a7" providerId="ADAL" clId="{4A5B0E51-00CD-416D-B11F-C16708EA3BDA}" dt="2022-11-25T17:08:30.874" v="517" actId="20577"/>
        <pc:sldMkLst>
          <pc:docMk/>
          <pc:sldMk cId="867239777" sldId="2146846842"/>
        </pc:sldMkLst>
        <pc:spChg chg="mod">
          <ac:chgData name="Hannu Hietalahti (Nokia)" userId="bcd6d86d-9ffc-4aa1-b5a6-083a51dd89a7" providerId="ADAL" clId="{4A5B0E51-00CD-416D-B11F-C16708EA3BDA}" dt="2022-11-25T17:08:30.874" v="517" actId="20577"/>
          <ac:spMkLst>
            <pc:docMk/>
            <pc:sldMk cId="867239777" sldId="2146846842"/>
            <ac:spMk id="4" creationId="{CD72C33D-DF40-4601-AF02-8DFD5A6EA958}"/>
          </ac:spMkLst>
        </pc:spChg>
      </pc:sldChg>
      <pc:sldChg chg="modSp mod">
        <pc:chgData name="Hannu Hietalahti (Nokia)" userId="bcd6d86d-9ffc-4aa1-b5a6-083a51dd89a7" providerId="ADAL" clId="{4A5B0E51-00CD-416D-B11F-C16708EA3BDA}" dt="2022-11-25T17:27:36.487" v="1147" actId="20577"/>
        <pc:sldMkLst>
          <pc:docMk/>
          <pc:sldMk cId="870368088" sldId="2146846953"/>
        </pc:sldMkLst>
        <pc:spChg chg="mod">
          <ac:chgData name="Hannu Hietalahti (Nokia)" userId="bcd6d86d-9ffc-4aa1-b5a6-083a51dd89a7" providerId="ADAL" clId="{4A5B0E51-00CD-416D-B11F-C16708EA3BDA}" dt="2022-11-25T17:22:57.858" v="1136" actId="20577"/>
          <ac:spMkLst>
            <pc:docMk/>
            <pc:sldMk cId="870368088" sldId="2146846953"/>
            <ac:spMk id="7" creationId="{549839A6-74B7-4FBB-BE42-38F844A55F8E}"/>
          </ac:spMkLst>
        </pc:spChg>
        <pc:graphicFrameChg chg="mod modGraphic">
          <ac:chgData name="Hannu Hietalahti (Nokia)" userId="bcd6d86d-9ffc-4aa1-b5a6-083a51dd89a7" providerId="ADAL" clId="{4A5B0E51-00CD-416D-B11F-C16708EA3BDA}" dt="2022-11-25T17:27:36.487" v="1147" actId="20577"/>
          <ac:graphicFrameMkLst>
            <pc:docMk/>
            <pc:sldMk cId="870368088" sldId="2146846953"/>
            <ac:graphicFrameMk id="5" creationId="{72292819-8568-4BDF-9D17-E4BA66E2B6E4}"/>
          </ac:graphicFrameMkLst>
        </pc:graphicFrameChg>
      </pc:sldChg>
      <pc:sldChg chg="modSp mod">
        <pc:chgData name="Hannu Hietalahti (Nokia)" userId="bcd6d86d-9ffc-4aa1-b5a6-083a51dd89a7" providerId="ADAL" clId="{4A5B0E51-00CD-416D-B11F-C16708EA3BDA}" dt="2022-11-25T17:03:48.013" v="479" actId="113"/>
        <pc:sldMkLst>
          <pc:docMk/>
          <pc:sldMk cId="2989177604" sldId="2146846954"/>
        </pc:sldMkLst>
        <pc:spChg chg="mod">
          <ac:chgData name="Hannu Hietalahti (Nokia)" userId="bcd6d86d-9ffc-4aa1-b5a6-083a51dd89a7" providerId="ADAL" clId="{4A5B0E51-00CD-416D-B11F-C16708EA3BDA}" dt="2022-11-25T17:03:48.013" v="479" actId="113"/>
          <ac:spMkLst>
            <pc:docMk/>
            <pc:sldMk cId="2989177604" sldId="2146846954"/>
            <ac:spMk id="4" creationId="{CD72C33D-DF40-4601-AF02-8DFD5A6EA958}"/>
          </ac:spMkLst>
        </pc:spChg>
      </pc:sldChg>
    </pc:docChg>
  </pc:docChgLst>
  <pc:docChgLst>
    <pc:chgData name="Saubhagya Baliarsingh (Nokia)" userId="4ec7ae5b-f499-48ef-80f9-42c73336c873" providerId="ADAL" clId="{072F557B-2EC7-49A7-9216-7EFAF7C4E5AE}"/>
    <pc:docChg chg="undo custSel modSld">
      <pc:chgData name="Saubhagya Baliarsingh (Nokia)" userId="4ec7ae5b-f499-48ef-80f9-42c73336c873" providerId="ADAL" clId="{072F557B-2EC7-49A7-9216-7EFAF7C4E5AE}" dt="2022-12-05T05:28:37.237" v="34" actId="20577"/>
      <pc:docMkLst>
        <pc:docMk/>
      </pc:docMkLst>
      <pc:sldChg chg="addSp delSp modSp mod">
        <pc:chgData name="Saubhagya Baliarsingh (Nokia)" userId="4ec7ae5b-f499-48ef-80f9-42c73336c873" providerId="ADAL" clId="{072F557B-2EC7-49A7-9216-7EFAF7C4E5AE}" dt="2022-12-05T05:23:14.149" v="29" actId="478"/>
        <pc:sldMkLst>
          <pc:docMk/>
          <pc:sldMk cId="2165169509" sldId="258"/>
        </pc:sldMkLst>
        <pc:spChg chg="add del mod">
          <ac:chgData name="Saubhagya Baliarsingh (Nokia)" userId="4ec7ae5b-f499-48ef-80f9-42c73336c873" providerId="ADAL" clId="{072F557B-2EC7-49A7-9216-7EFAF7C4E5AE}" dt="2022-12-05T05:23:14.149" v="29" actId="478"/>
          <ac:spMkLst>
            <pc:docMk/>
            <pc:sldMk cId="2165169509" sldId="258"/>
            <ac:spMk id="4" creationId="{E5DB03B9-AD75-4D15-A65A-AA01632F35B2}"/>
          </ac:spMkLst>
        </pc:spChg>
      </pc:sldChg>
      <pc:sldChg chg="modSp mod">
        <pc:chgData name="Saubhagya Baliarsingh (Nokia)" userId="4ec7ae5b-f499-48ef-80f9-42c73336c873" providerId="ADAL" clId="{072F557B-2EC7-49A7-9216-7EFAF7C4E5AE}" dt="2022-12-05T05:28:37.237" v="34" actId="20577"/>
        <pc:sldMkLst>
          <pc:docMk/>
          <pc:sldMk cId="2009724111" sldId="2134805617"/>
        </pc:sldMkLst>
        <pc:spChg chg="mod">
          <ac:chgData name="Saubhagya Baliarsingh (Nokia)" userId="4ec7ae5b-f499-48ef-80f9-42c73336c873" providerId="ADAL" clId="{072F557B-2EC7-49A7-9216-7EFAF7C4E5AE}" dt="2022-12-05T05:28:37.237" v="34" actId="20577"/>
          <ac:spMkLst>
            <pc:docMk/>
            <pc:sldMk cId="2009724111" sldId="2134805617"/>
            <ac:spMk id="4" creationId="{FD9B9349-5219-4A4E-8125-7E6F849D4C07}"/>
          </ac:spMkLst>
        </pc:spChg>
      </pc:sldChg>
    </pc:docChg>
  </pc:docChgLst>
  <pc:docChgLst>
    <pc:chgData name="Casati, Alessio (Nokia - GB)" userId="6f050b0a-bf61-49f1-93be-076af52cf2e7" providerId="ADAL" clId="{FADBE0DF-3B7A-4FA5-9945-AC487EF93033}"/>
    <pc:docChg chg="undo custSel addSld delSld modSld">
      <pc:chgData name="Casati, Alessio (Nokia - GB)" userId="6f050b0a-bf61-49f1-93be-076af52cf2e7" providerId="ADAL" clId="{FADBE0DF-3B7A-4FA5-9945-AC487EF93033}" dt="2021-04-26T12:28:30.585" v="429" actId="20577"/>
      <pc:docMkLst>
        <pc:docMk/>
      </pc:docMkLst>
      <pc:sldChg chg="modSp mod">
        <pc:chgData name="Casati, Alessio (Nokia - GB)" userId="6f050b0a-bf61-49f1-93be-076af52cf2e7" providerId="ADAL" clId="{FADBE0DF-3B7A-4FA5-9945-AC487EF93033}" dt="2021-04-26T12:20:54.185" v="71" actId="12"/>
        <pc:sldMkLst>
          <pc:docMk/>
          <pc:sldMk cId="4028873258" sldId="2134805419"/>
        </pc:sldMkLst>
        <pc:spChg chg="mod">
          <ac:chgData name="Casati, Alessio (Nokia - GB)" userId="6f050b0a-bf61-49f1-93be-076af52cf2e7" providerId="ADAL" clId="{FADBE0DF-3B7A-4FA5-9945-AC487EF93033}" dt="2021-04-26T12:20:54.185" v="71" actId="12"/>
          <ac:spMkLst>
            <pc:docMk/>
            <pc:sldMk cId="4028873258" sldId="2134805419"/>
            <ac:spMk id="4" creationId="{5C8D5078-B8D0-4095-8466-64F7613FE8A6}"/>
          </ac:spMkLst>
        </pc:spChg>
      </pc:sldChg>
      <pc:sldChg chg="modSp mod">
        <pc:chgData name="Casati, Alessio (Nokia - GB)" userId="6f050b0a-bf61-49f1-93be-076af52cf2e7" providerId="ADAL" clId="{FADBE0DF-3B7A-4FA5-9945-AC487EF93033}" dt="2021-04-26T12:28:30.585" v="429" actId="20577"/>
        <pc:sldMkLst>
          <pc:docMk/>
          <pc:sldMk cId="645260410" sldId="2134805420"/>
        </pc:sldMkLst>
        <pc:spChg chg="mod">
          <ac:chgData name="Casati, Alessio (Nokia - GB)" userId="6f050b0a-bf61-49f1-93be-076af52cf2e7" providerId="ADAL" clId="{FADBE0DF-3B7A-4FA5-9945-AC487EF93033}" dt="2021-04-26T12:28:30.585" v="429" actId="20577"/>
          <ac:spMkLst>
            <pc:docMk/>
            <pc:sldMk cId="645260410" sldId="2134805420"/>
            <ac:spMk id="4" creationId="{5C8D5078-B8D0-4095-8466-64F7613FE8A6}"/>
          </ac:spMkLst>
        </pc:spChg>
      </pc:sldChg>
      <pc:sldChg chg="modSp add mod">
        <pc:chgData name="Casati, Alessio (Nokia - GB)" userId="6f050b0a-bf61-49f1-93be-076af52cf2e7" providerId="ADAL" clId="{FADBE0DF-3B7A-4FA5-9945-AC487EF93033}" dt="2021-04-26T12:21:33.195" v="77" actId="12"/>
        <pc:sldMkLst>
          <pc:docMk/>
          <pc:sldMk cId="2159177884" sldId="2134805487"/>
        </pc:sldMkLst>
        <pc:spChg chg="mod">
          <ac:chgData name="Casati, Alessio (Nokia - GB)" userId="6f050b0a-bf61-49f1-93be-076af52cf2e7" providerId="ADAL" clId="{FADBE0DF-3B7A-4FA5-9945-AC487EF93033}" dt="2021-04-26T12:21:33.195" v="77" actId="12"/>
          <ac:spMkLst>
            <pc:docMk/>
            <pc:sldMk cId="2159177884" sldId="2134805487"/>
            <ac:spMk id="4" creationId="{5C8D5078-B8D0-4095-8466-64F7613FE8A6}"/>
          </ac:spMkLst>
        </pc:spChg>
      </pc:sldChg>
      <pc:sldChg chg="modSp add mod">
        <pc:chgData name="Casati, Alessio (Nokia - GB)" userId="6f050b0a-bf61-49f1-93be-076af52cf2e7" providerId="ADAL" clId="{FADBE0DF-3B7A-4FA5-9945-AC487EF93033}" dt="2021-04-26T12:23:02.612" v="101" actId="27636"/>
        <pc:sldMkLst>
          <pc:docMk/>
          <pc:sldMk cId="3777372909" sldId="2134805488"/>
        </pc:sldMkLst>
        <pc:spChg chg="mod">
          <ac:chgData name="Casati, Alessio (Nokia - GB)" userId="6f050b0a-bf61-49f1-93be-076af52cf2e7" providerId="ADAL" clId="{FADBE0DF-3B7A-4FA5-9945-AC487EF93033}" dt="2021-04-26T12:23:02.612" v="101" actId="27636"/>
          <ac:spMkLst>
            <pc:docMk/>
            <pc:sldMk cId="3777372909" sldId="2134805488"/>
            <ac:spMk id="4" creationId="{5C8D5078-B8D0-4095-8466-64F7613FE8A6}"/>
          </ac:spMkLst>
        </pc:spChg>
      </pc:sldChg>
      <pc:sldChg chg="modSp add mod">
        <pc:chgData name="Casati, Alessio (Nokia - GB)" userId="6f050b0a-bf61-49f1-93be-076af52cf2e7" providerId="ADAL" clId="{FADBE0DF-3B7A-4FA5-9945-AC487EF93033}" dt="2021-04-26T12:24:12.759" v="114" actId="27636"/>
        <pc:sldMkLst>
          <pc:docMk/>
          <pc:sldMk cId="491374295" sldId="2134805489"/>
        </pc:sldMkLst>
        <pc:spChg chg="mod">
          <ac:chgData name="Casati, Alessio (Nokia - GB)" userId="6f050b0a-bf61-49f1-93be-076af52cf2e7" providerId="ADAL" clId="{FADBE0DF-3B7A-4FA5-9945-AC487EF93033}" dt="2021-04-26T12:24:12.759" v="114" actId="27636"/>
          <ac:spMkLst>
            <pc:docMk/>
            <pc:sldMk cId="491374295" sldId="2134805489"/>
            <ac:spMk id="4" creationId="{5C8D5078-B8D0-4095-8466-64F7613FE8A6}"/>
          </ac:spMkLst>
        </pc:spChg>
      </pc:sldChg>
      <pc:sldChg chg="add del">
        <pc:chgData name="Casati, Alessio (Nokia - GB)" userId="6f050b0a-bf61-49f1-93be-076af52cf2e7" providerId="ADAL" clId="{FADBE0DF-3B7A-4FA5-9945-AC487EF93033}" dt="2021-04-26T12:22:15.266" v="83"/>
        <pc:sldMkLst>
          <pc:docMk/>
          <pc:sldMk cId="993550062" sldId="2134805489"/>
        </pc:sldMkLst>
      </pc:sldChg>
      <pc:sldChg chg="add del">
        <pc:chgData name="Casati, Alessio (Nokia - GB)" userId="6f050b0a-bf61-49f1-93be-076af52cf2e7" providerId="ADAL" clId="{FADBE0DF-3B7A-4FA5-9945-AC487EF93033}" dt="2021-04-26T12:22:14.790" v="82"/>
        <pc:sldMkLst>
          <pc:docMk/>
          <pc:sldMk cId="3464202603" sldId="2134805490"/>
        </pc:sldMkLst>
      </pc:sldChg>
      <pc:sldChg chg="add del">
        <pc:chgData name="Casati, Alessio (Nokia - GB)" userId="6f050b0a-bf61-49f1-93be-076af52cf2e7" providerId="ADAL" clId="{FADBE0DF-3B7A-4FA5-9945-AC487EF93033}" dt="2021-04-26T12:22:14.790" v="82"/>
        <pc:sldMkLst>
          <pc:docMk/>
          <pc:sldMk cId="2524828399" sldId="2134805491"/>
        </pc:sldMkLst>
      </pc:sldChg>
    </pc:docChg>
  </pc:docChgLst>
  <pc:docChgLst>
    <pc:chgData name="Fabio Giust (Nokia)" userId="4032e17e-121c-4a4e-b875-df2f68eb573c" providerId="ADAL" clId="{8E803958-1549-4CBD-A7D2-41F74661E690}"/>
    <pc:docChg chg="undo redo custSel addSld modSld sldOrd">
      <pc:chgData name="Fabio Giust (Nokia)" userId="4032e17e-121c-4a4e-b875-df2f68eb573c" providerId="ADAL" clId="{8E803958-1549-4CBD-A7D2-41F74661E690}" dt="2022-12-05T10:39:31.597" v="847" actId="20577"/>
      <pc:docMkLst>
        <pc:docMk/>
      </pc:docMkLst>
      <pc:sldChg chg="modSp mod">
        <pc:chgData name="Fabio Giust (Nokia)" userId="4032e17e-121c-4a4e-b875-df2f68eb573c" providerId="ADAL" clId="{8E803958-1549-4CBD-A7D2-41F74661E690}" dt="2022-12-05T09:16:24.820" v="87" actId="20577"/>
        <pc:sldMkLst>
          <pc:docMk/>
          <pc:sldMk cId="945775949" sldId="2146846918"/>
        </pc:sldMkLst>
        <pc:spChg chg="mod">
          <ac:chgData name="Fabio Giust (Nokia)" userId="4032e17e-121c-4a4e-b875-df2f68eb573c" providerId="ADAL" clId="{8E803958-1549-4CBD-A7D2-41F74661E690}" dt="2022-12-05T09:16:24.820" v="87" actId="20577"/>
          <ac:spMkLst>
            <pc:docMk/>
            <pc:sldMk cId="945775949" sldId="2146846918"/>
            <ac:spMk id="5" creationId="{0A813F0E-7224-42E6-A359-B5A9B05FEE7A}"/>
          </ac:spMkLst>
        </pc:spChg>
      </pc:sldChg>
      <pc:sldChg chg="modSp mod">
        <pc:chgData name="Fabio Giust (Nokia)" userId="4032e17e-121c-4a4e-b875-df2f68eb573c" providerId="ADAL" clId="{8E803958-1549-4CBD-A7D2-41F74661E690}" dt="2022-11-29T22:16:54.329" v="86" actId="21"/>
        <pc:sldMkLst>
          <pc:docMk/>
          <pc:sldMk cId="4241780383" sldId="2146846932"/>
        </pc:sldMkLst>
        <pc:spChg chg="mod">
          <ac:chgData name="Fabio Giust (Nokia)" userId="4032e17e-121c-4a4e-b875-df2f68eb573c" providerId="ADAL" clId="{8E803958-1549-4CBD-A7D2-41F74661E690}" dt="2022-11-29T22:16:54.329" v="86" actId="21"/>
          <ac:spMkLst>
            <pc:docMk/>
            <pc:sldMk cId="4241780383" sldId="2146846932"/>
            <ac:spMk id="4" creationId="{CD72C33D-DF40-4601-AF02-8DFD5A6EA958}"/>
          </ac:spMkLst>
        </pc:spChg>
      </pc:sldChg>
      <pc:sldChg chg="delSp modSp mod ord">
        <pc:chgData name="Fabio Giust (Nokia)" userId="4032e17e-121c-4a4e-b875-df2f68eb573c" providerId="ADAL" clId="{8E803958-1549-4CBD-A7D2-41F74661E690}" dt="2022-12-05T10:39:23.788" v="843" actId="20577"/>
        <pc:sldMkLst>
          <pc:docMk/>
          <pc:sldMk cId="1913528199" sldId="2146846934"/>
        </pc:sldMkLst>
        <pc:spChg chg="mod">
          <ac:chgData name="Fabio Giust (Nokia)" userId="4032e17e-121c-4a4e-b875-df2f68eb573c" providerId="ADAL" clId="{8E803958-1549-4CBD-A7D2-41F74661E690}" dt="2022-12-05T10:39:23.788" v="843" actId="20577"/>
          <ac:spMkLst>
            <pc:docMk/>
            <pc:sldMk cId="1913528199" sldId="2146846934"/>
            <ac:spMk id="2" creationId="{A5C5FA6B-5232-442C-A83D-15FD43352800}"/>
          </ac:spMkLst>
        </pc:spChg>
        <pc:spChg chg="mod">
          <ac:chgData name="Fabio Giust (Nokia)" userId="4032e17e-121c-4a4e-b875-df2f68eb573c" providerId="ADAL" clId="{8E803958-1549-4CBD-A7D2-41F74661E690}" dt="2022-12-05T10:37:03.953" v="824" actId="207"/>
          <ac:spMkLst>
            <pc:docMk/>
            <pc:sldMk cId="1913528199" sldId="2146846934"/>
            <ac:spMk id="4" creationId="{FC0D3EA9-8686-465E-AF3E-02775AA807DF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5" creationId="{5D83ADCE-3EEB-4671-ADD3-A5E156AD3F9D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6" creationId="{E27FA666-4C21-4662-BFEE-7816B22DAA4D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11" creationId="{3458A2CE-CAD7-4371-9632-EC7A0C99A135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12" creationId="{77FE6F00-E3DF-4184-AAB8-71F349E0AAFF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13" creationId="{8028F187-88E8-428A-A948-B298266A61A8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14" creationId="{89DE11F4-B79F-4B51-A2B2-1509A507CA7C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15" creationId="{781F9AC9-2C66-46FB-BE25-88D9DF402494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16" creationId="{615FB3A6-4D13-4985-B5FC-4E0D2B52B143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17" creationId="{926581CA-BA99-472D-A096-92B68FF792BF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18" creationId="{8B7FB87F-6744-49B5-9C60-EF19CC8F9527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19" creationId="{56CFD6A5-7E17-4E33-83AD-5C9B969B89E6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20" creationId="{133FEFFE-40C8-4B1F-86F6-0AC13E1A63AF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21" creationId="{5259DD4B-A260-4356-A0AC-0C6D39B97B05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22" creationId="{E7588D71-12C8-4127-967C-48C0DD7CDF82}"/>
          </ac:spMkLst>
        </pc:spChg>
        <pc:spChg chg="del">
          <ac:chgData name="Fabio Giust (Nokia)" userId="4032e17e-121c-4a4e-b875-df2f68eb573c" providerId="ADAL" clId="{8E803958-1549-4CBD-A7D2-41F74661E690}" dt="2022-12-05T09:26:08.701" v="219" actId="478"/>
          <ac:spMkLst>
            <pc:docMk/>
            <pc:sldMk cId="1913528199" sldId="2146846934"/>
            <ac:spMk id="23" creationId="{45968425-F4E6-4552-93E7-088CDB53E387}"/>
          </ac:spMkLst>
        </pc:spChg>
      </pc:sldChg>
      <pc:sldChg chg="modSp add mod">
        <pc:chgData name="Fabio Giust (Nokia)" userId="4032e17e-121c-4a4e-b875-df2f68eb573c" providerId="ADAL" clId="{8E803958-1549-4CBD-A7D2-41F74661E690}" dt="2022-12-05T10:39:13.019" v="839" actId="20577"/>
        <pc:sldMkLst>
          <pc:docMk/>
          <pc:sldMk cId="1001977197" sldId="2146846974"/>
        </pc:sldMkLst>
        <pc:spChg chg="mod">
          <ac:chgData name="Fabio Giust (Nokia)" userId="4032e17e-121c-4a4e-b875-df2f68eb573c" providerId="ADAL" clId="{8E803958-1549-4CBD-A7D2-41F74661E690}" dt="2022-12-05T10:39:13.019" v="839" actId="20577"/>
          <ac:spMkLst>
            <pc:docMk/>
            <pc:sldMk cId="1001977197" sldId="2146846974"/>
            <ac:spMk id="2" creationId="{A5C5FA6B-5232-442C-A83D-15FD43352800}"/>
          </ac:spMkLst>
        </pc:spChg>
        <pc:spChg chg="mod">
          <ac:chgData name="Fabio Giust (Nokia)" userId="4032e17e-121c-4a4e-b875-df2f68eb573c" providerId="ADAL" clId="{8E803958-1549-4CBD-A7D2-41F74661E690}" dt="2022-12-05T10:36:38.133" v="820" actId="207"/>
          <ac:spMkLst>
            <pc:docMk/>
            <pc:sldMk cId="1001977197" sldId="2146846974"/>
            <ac:spMk id="4" creationId="{FC0D3EA9-8686-465E-AF3E-02775AA807DF}"/>
          </ac:spMkLst>
        </pc:spChg>
      </pc:sldChg>
      <pc:sldChg chg="modSp add mod">
        <pc:chgData name="Fabio Giust (Nokia)" userId="4032e17e-121c-4a4e-b875-df2f68eb573c" providerId="ADAL" clId="{8E803958-1549-4CBD-A7D2-41F74661E690}" dt="2022-12-05T10:39:31.597" v="847" actId="20577"/>
        <pc:sldMkLst>
          <pc:docMk/>
          <pc:sldMk cId="996509344" sldId="2146846975"/>
        </pc:sldMkLst>
        <pc:spChg chg="mod">
          <ac:chgData name="Fabio Giust (Nokia)" userId="4032e17e-121c-4a4e-b875-df2f68eb573c" providerId="ADAL" clId="{8E803958-1549-4CBD-A7D2-41F74661E690}" dt="2022-12-05T10:39:31.597" v="847" actId="20577"/>
          <ac:spMkLst>
            <pc:docMk/>
            <pc:sldMk cId="996509344" sldId="2146846975"/>
            <ac:spMk id="2" creationId="{A5C5FA6B-5232-442C-A83D-15FD43352800}"/>
          </ac:spMkLst>
        </pc:spChg>
        <pc:spChg chg="mod">
          <ac:chgData name="Fabio Giust (Nokia)" userId="4032e17e-121c-4a4e-b875-df2f68eb573c" providerId="ADAL" clId="{8E803958-1549-4CBD-A7D2-41F74661E690}" dt="2022-12-05T10:38:24.488" v="833" actId="403"/>
          <ac:spMkLst>
            <pc:docMk/>
            <pc:sldMk cId="996509344" sldId="2146846975"/>
            <ac:spMk id="4" creationId="{FC0D3EA9-8686-465E-AF3E-02775AA807DF}"/>
          </ac:spMkLst>
        </pc:spChg>
      </pc:sldChg>
    </pc:docChg>
  </pc:docChgLst>
  <pc:docChgLst>
    <pc:chgData name="Gupta, Pallab (Nokia - IN/Bangalore)" userId="S::pallab.gupta@nokia.com::2373e1e1-8f73-46a5-bf2c-89beccfccabe" providerId="AD" clId="Web-{47C69581-CCD8-E06A-CBBF-4AA29B2065BD}"/>
    <pc:docChg chg="modSld">
      <pc:chgData name="Gupta, Pallab (Nokia - IN/Bangalore)" userId="S::pallab.gupta@nokia.com::2373e1e1-8f73-46a5-bf2c-89beccfccabe" providerId="AD" clId="Web-{47C69581-CCD8-E06A-CBBF-4AA29B2065BD}" dt="2021-04-26T09:11:57.342" v="1" actId="20577"/>
      <pc:docMkLst>
        <pc:docMk/>
      </pc:docMkLst>
      <pc:sldChg chg="modSp">
        <pc:chgData name="Gupta, Pallab (Nokia - IN/Bangalore)" userId="S::pallab.gupta@nokia.com::2373e1e1-8f73-46a5-bf2c-89beccfccabe" providerId="AD" clId="Web-{47C69581-CCD8-E06A-CBBF-4AA29B2065BD}" dt="2021-04-26T09:11:57.342" v="1" actId="20577"/>
        <pc:sldMkLst>
          <pc:docMk/>
          <pc:sldMk cId="4176047577" sldId="2134805379"/>
        </pc:sldMkLst>
        <pc:spChg chg="mod">
          <ac:chgData name="Gupta, Pallab (Nokia - IN/Bangalore)" userId="S::pallab.gupta@nokia.com::2373e1e1-8f73-46a5-bf2c-89beccfccabe" providerId="AD" clId="Web-{47C69581-CCD8-E06A-CBBF-4AA29B2065BD}" dt="2021-04-26T09:11:57.342" v="1" actId="20577"/>
          <ac:spMkLst>
            <pc:docMk/>
            <pc:sldMk cId="4176047577" sldId="2134805379"/>
            <ac:spMk id="8" creationId="{A6FE9473-D619-44D5-90D9-CA33713ECD23}"/>
          </ac:spMkLst>
        </pc:spChg>
      </pc:sldChg>
    </pc:docChg>
  </pc:docChgLst>
  <pc:docChgLst>
    <pc:chgData name="Thiebaut, Laurent (Nokia - FR/Paris-Saclay)" userId="5a0f83ef-4330-4e17-8828-eca8fc03b257" providerId="ADAL" clId="{412AF89E-080E-4392-AD94-1BA25AE83872}"/>
    <pc:docChg chg="custSel delSld modSld sldOrd">
      <pc:chgData name="Thiebaut, Laurent (Nokia - FR/Paris-Saclay)" userId="5a0f83ef-4330-4e17-8828-eca8fc03b257" providerId="ADAL" clId="{412AF89E-080E-4392-AD94-1BA25AE83872}" dt="2020-03-13T12:28:17.763" v="28" actId="2696"/>
      <pc:docMkLst>
        <pc:docMk/>
      </pc:docMkLst>
      <pc:sldChg chg="modSp">
        <pc:chgData name="Thiebaut, Laurent (Nokia - FR/Paris-Saclay)" userId="5a0f83ef-4330-4e17-8828-eca8fc03b257" providerId="ADAL" clId="{412AF89E-080E-4392-AD94-1BA25AE83872}" dt="2020-03-13T12:26:55.093" v="25" actId="6549"/>
        <pc:sldMkLst>
          <pc:docMk/>
          <pc:sldMk cId="3153064115" sldId="275"/>
        </pc:sldMkLst>
        <pc:spChg chg="mod">
          <ac:chgData name="Thiebaut, Laurent (Nokia - FR/Paris-Saclay)" userId="5a0f83ef-4330-4e17-8828-eca8fc03b257" providerId="ADAL" clId="{412AF89E-080E-4392-AD94-1BA25AE83872}" dt="2020-03-13T12:26:55.093" v="25" actId="6549"/>
          <ac:spMkLst>
            <pc:docMk/>
            <pc:sldMk cId="3153064115" sldId="275"/>
            <ac:spMk id="5" creationId="{A560F786-3A6C-41F0-99EF-DFF4DE7F777C}"/>
          </ac:spMkLst>
        </pc:spChg>
      </pc:sldChg>
      <pc:sldChg chg="ord">
        <pc:chgData name="Thiebaut, Laurent (Nokia - FR/Paris-Saclay)" userId="5a0f83ef-4330-4e17-8828-eca8fc03b257" providerId="ADAL" clId="{412AF89E-080E-4392-AD94-1BA25AE83872}" dt="2020-03-13T12:25:37.456" v="1"/>
        <pc:sldMkLst>
          <pc:docMk/>
          <pc:sldMk cId="1074351315" sldId="283"/>
        </pc:sldMkLst>
      </pc:sldChg>
      <pc:sldChg chg="ord">
        <pc:chgData name="Thiebaut, Laurent (Nokia - FR/Paris-Saclay)" userId="5a0f83ef-4330-4e17-8828-eca8fc03b257" providerId="ADAL" clId="{412AF89E-080E-4392-AD94-1BA25AE83872}" dt="2020-03-13T12:27:44.926" v="26"/>
        <pc:sldMkLst>
          <pc:docMk/>
          <pc:sldMk cId="3072010189" sldId="284"/>
        </pc:sldMkLst>
      </pc:sldChg>
      <pc:sldChg chg="ord">
        <pc:chgData name="Thiebaut, Laurent (Nokia - FR/Paris-Saclay)" userId="5a0f83ef-4330-4e17-8828-eca8fc03b257" providerId="ADAL" clId="{412AF89E-080E-4392-AD94-1BA25AE83872}" dt="2020-03-13T12:27:44.926" v="26"/>
        <pc:sldMkLst>
          <pc:docMk/>
          <pc:sldMk cId="2244628399" sldId="285"/>
        </pc:sldMkLst>
      </pc:sldChg>
      <pc:sldChg chg="ord">
        <pc:chgData name="Thiebaut, Laurent (Nokia - FR/Paris-Saclay)" userId="5a0f83ef-4330-4e17-8828-eca8fc03b257" providerId="ADAL" clId="{412AF89E-080E-4392-AD94-1BA25AE83872}" dt="2020-03-13T12:25:48.104" v="3"/>
        <pc:sldMkLst>
          <pc:docMk/>
          <pc:sldMk cId="3687963215" sldId="289"/>
        </pc:sldMkLst>
      </pc:sldChg>
      <pc:sldChg chg="modSp">
        <pc:chgData name="Thiebaut, Laurent (Nokia - FR/Paris-Saclay)" userId="5a0f83ef-4330-4e17-8828-eca8fc03b257" providerId="ADAL" clId="{412AF89E-080E-4392-AD94-1BA25AE83872}" dt="2020-03-13T12:26:23.517" v="5" actId="6549"/>
        <pc:sldMkLst>
          <pc:docMk/>
          <pc:sldMk cId="3982377665" sldId="296"/>
        </pc:sldMkLst>
        <pc:spChg chg="mod">
          <ac:chgData name="Thiebaut, Laurent (Nokia - FR/Paris-Saclay)" userId="5a0f83ef-4330-4e17-8828-eca8fc03b257" providerId="ADAL" clId="{412AF89E-080E-4392-AD94-1BA25AE83872}" dt="2020-03-13T12:26:23.517" v="5" actId="6549"/>
          <ac:spMkLst>
            <pc:docMk/>
            <pc:sldMk cId="3982377665" sldId="296"/>
            <ac:spMk id="5" creationId="{A560F786-3A6C-41F0-99EF-DFF4DE7F777C}"/>
          </ac:spMkLst>
        </pc:spChg>
      </pc:sldChg>
      <pc:sldChg chg="ord">
        <pc:chgData name="Thiebaut, Laurent (Nokia - FR/Paris-Saclay)" userId="5a0f83ef-4330-4e17-8828-eca8fc03b257" providerId="ADAL" clId="{412AF89E-080E-4392-AD94-1BA25AE83872}" dt="2020-03-13T12:28:08.339" v="27"/>
        <pc:sldMkLst>
          <pc:docMk/>
          <pc:sldMk cId="298917606" sldId="301"/>
        </pc:sldMkLst>
      </pc:sldChg>
      <pc:sldChg chg="ord">
        <pc:chgData name="Thiebaut, Laurent (Nokia - FR/Paris-Saclay)" userId="5a0f83ef-4330-4e17-8828-eca8fc03b257" providerId="ADAL" clId="{412AF89E-080E-4392-AD94-1BA25AE83872}" dt="2020-03-13T12:28:08.339" v="27"/>
        <pc:sldMkLst>
          <pc:docMk/>
          <pc:sldMk cId="1124374886" sldId="302"/>
        </pc:sldMkLst>
      </pc:sldChg>
      <pc:sldChg chg="ord">
        <pc:chgData name="Thiebaut, Laurent (Nokia - FR/Paris-Saclay)" userId="5a0f83ef-4330-4e17-8828-eca8fc03b257" providerId="ADAL" clId="{412AF89E-080E-4392-AD94-1BA25AE83872}" dt="2020-03-13T12:25:37.456" v="1"/>
        <pc:sldMkLst>
          <pc:docMk/>
          <pc:sldMk cId="20773976" sldId="303"/>
        </pc:sldMkLst>
      </pc:sldChg>
      <pc:sldChg chg="ord">
        <pc:chgData name="Thiebaut, Laurent (Nokia - FR/Paris-Saclay)" userId="5a0f83ef-4330-4e17-8828-eca8fc03b257" providerId="ADAL" clId="{412AF89E-080E-4392-AD94-1BA25AE83872}" dt="2020-03-13T12:25:37.456" v="1"/>
        <pc:sldMkLst>
          <pc:docMk/>
          <pc:sldMk cId="62257519" sldId="304"/>
        </pc:sldMkLst>
      </pc:sldChg>
      <pc:sldChg chg="ord">
        <pc:chgData name="Thiebaut, Laurent (Nokia - FR/Paris-Saclay)" userId="5a0f83ef-4330-4e17-8828-eca8fc03b257" providerId="ADAL" clId="{412AF89E-080E-4392-AD94-1BA25AE83872}" dt="2020-03-13T12:25:37.456" v="1"/>
        <pc:sldMkLst>
          <pc:docMk/>
          <pc:sldMk cId="3180151841" sldId="305"/>
        </pc:sldMkLst>
      </pc:sldChg>
      <pc:sldChg chg="ord">
        <pc:chgData name="Thiebaut, Laurent (Nokia - FR/Paris-Saclay)" userId="5a0f83ef-4330-4e17-8828-eca8fc03b257" providerId="ADAL" clId="{412AF89E-080E-4392-AD94-1BA25AE83872}" dt="2020-03-13T12:27:44.926" v="26"/>
        <pc:sldMkLst>
          <pc:docMk/>
          <pc:sldMk cId="3922117623" sldId="315"/>
        </pc:sldMkLst>
      </pc:sldChg>
      <pc:sldChg chg="ord">
        <pc:chgData name="Thiebaut, Laurent (Nokia - FR/Paris-Saclay)" userId="5a0f83ef-4330-4e17-8828-eca8fc03b257" providerId="ADAL" clId="{412AF89E-080E-4392-AD94-1BA25AE83872}" dt="2020-03-13T12:25:16.864" v="0"/>
        <pc:sldMkLst>
          <pc:docMk/>
          <pc:sldMk cId="3870285730" sldId="319"/>
        </pc:sldMkLst>
      </pc:sldChg>
      <pc:sldChg chg="ord">
        <pc:chgData name="Thiebaut, Laurent (Nokia - FR/Paris-Saclay)" userId="5a0f83ef-4330-4e17-8828-eca8fc03b257" providerId="ADAL" clId="{412AF89E-080E-4392-AD94-1BA25AE83872}" dt="2020-03-13T12:25:16.864" v="0"/>
        <pc:sldMkLst>
          <pc:docMk/>
          <pc:sldMk cId="3312523795" sldId="321"/>
        </pc:sldMkLst>
      </pc:sldChg>
      <pc:sldChg chg="ord">
        <pc:chgData name="Thiebaut, Laurent (Nokia - FR/Paris-Saclay)" userId="5a0f83ef-4330-4e17-8828-eca8fc03b257" providerId="ADAL" clId="{412AF89E-080E-4392-AD94-1BA25AE83872}" dt="2020-03-13T12:25:16.864" v="0"/>
        <pc:sldMkLst>
          <pc:docMk/>
          <pc:sldMk cId="2692745318" sldId="322"/>
        </pc:sldMkLst>
      </pc:sldChg>
      <pc:sldChg chg="ord">
        <pc:chgData name="Thiebaut, Laurent (Nokia - FR/Paris-Saclay)" userId="5a0f83ef-4330-4e17-8828-eca8fc03b257" providerId="ADAL" clId="{412AF89E-080E-4392-AD94-1BA25AE83872}" dt="2020-03-13T12:25:37.456" v="1"/>
        <pc:sldMkLst>
          <pc:docMk/>
          <pc:sldMk cId="4090109033" sldId="334"/>
        </pc:sldMkLst>
      </pc:sldChg>
    </pc:docChg>
  </pc:docChgLst>
  <pc:docChgLst>
    <pc:chgData name="Cai, Simon (NSB - CN/Chengdu)" userId="37152ebf-cb41-4a71-820f-4428dc623117" providerId="ADAL" clId="{08352E1C-E79F-481B-B68D-B616E76FB2AF}"/>
    <pc:docChg chg="undo custSel addSld delSld modSld sldOrd">
      <pc:chgData name="Cai, Simon (NSB - CN/Chengdu)" userId="37152ebf-cb41-4a71-820f-4428dc623117" providerId="ADAL" clId="{08352E1C-E79F-481B-B68D-B616E76FB2AF}" dt="2022-03-06T20:36:54.038" v="1676" actId="20577"/>
      <pc:docMkLst>
        <pc:docMk/>
      </pc:docMkLst>
      <pc:sldChg chg="del">
        <pc:chgData name="Cai, Simon (NSB - CN/Chengdu)" userId="37152ebf-cb41-4a71-820f-4428dc623117" providerId="ADAL" clId="{08352E1C-E79F-481B-B68D-B616E76FB2AF}" dt="2022-03-06T14:18:29.952" v="1624" actId="47"/>
        <pc:sldMkLst>
          <pc:docMk/>
          <pc:sldMk cId="1742761218" sldId="2134805596"/>
        </pc:sldMkLst>
      </pc:sldChg>
      <pc:sldChg chg="del">
        <pc:chgData name="Cai, Simon (NSB - CN/Chengdu)" userId="37152ebf-cb41-4a71-820f-4428dc623117" providerId="ADAL" clId="{08352E1C-E79F-481B-B68D-B616E76FB2AF}" dt="2022-03-06T14:18:30.987" v="1625" actId="47"/>
        <pc:sldMkLst>
          <pc:docMk/>
          <pc:sldMk cId="3754592971" sldId="2134805597"/>
        </pc:sldMkLst>
      </pc:sldChg>
      <pc:sldChg chg="modSp mod">
        <pc:chgData name="Cai, Simon (NSB - CN/Chengdu)" userId="37152ebf-cb41-4a71-820f-4428dc623117" providerId="ADAL" clId="{08352E1C-E79F-481B-B68D-B616E76FB2AF}" dt="2022-03-06T15:05:11.177" v="1627" actId="20577"/>
        <pc:sldMkLst>
          <pc:docMk/>
          <pc:sldMk cId="2157056314" sldId="2134805604"/>
        </pc:sldMkLst>
        <pc:spChg chg="mod">
          <ac:chgData name="Cai, Simon (NSB - CN/Chengdu)" userId="37152ebf-cb41-4a71-820f-4428dc623117" providerId="ADAL" clId="{08352E1C-E79F-481B-B68D-B616E76FB2AF}" dt="2022-03-06T15:05:11.177" v="1627" actId="20577"/>
          <ac:spMkLst>
            <pc:docMk/>
            <pc:sldMk cId="2157056314" sldId="2134805604"/>
            <ac:spMk id="4" creationId="{B91515A7-343D-47E8-82B8-D58ED83CD3B1}"/>
          </ac:spMkLst>
        </pc:spChg>
      </pc:sldChg>
      <pc:sldChg chg="modSp new del mod ord">
        <pc:chgData name="Cai, Simon (NSB - CN/Chengdu)" userId="37152ebf-cb41-4a71-820f-4428dc623117" providerId="ADAL" clId="{08352E1C-E79F-481B-B68D-B616E76FB2AF}" dt="2022-03-06T15:07:33.383" v="1646" actId="47"/>
        <pc:sldMkLst>
          <pc:docMk/>
          <pc:sldMk cId="1412868729" sldId="2146846793"/>
        </pc:sldMkLst>
        <pc:spChg chg="mod">
          <ac:chgData name="Cai, Simon (NSB - CN/Chengdu)" userId="37152ebf-cb41-4a71-820f-4428dc623117" providerId="ADAL" clId="{08352E1C-E79F-481B-B68D-B616E76FB2AF}" dt="2022-03-03T20:15:11.784" v="1211" actId="120"/>
          <ac:spMkLst>
            <pc:docMk/>
            <pc:sldMk cId="1412868729" sldId="2146846793"/>
            <ac:spMk id="2" creationId="{21063D7B-AA75-4805-B36F-4E6E55F942F0}"/>
          </ac:spMkLst>
        </pc:spChg>
        <pc:spChg chg="mod">
          <ac:chgData name="Cai, Simon (NSB - CN/Chengdu)" userId="37152ebf-cb41-4a71-820f-4428dc623117" providerId="ADAL" clId="{08352E1C-E79F-481B-B68D-B616E76FB2AF}" dt="2022-03-03T20:11:52.780" v="1174" actId="20577"/>
          <ac:spMkLst>
            <pc:docMk/>
            <pc:sldMk cId="1412868729" sldId="2146846793"/>
            <ac:spMk id="3" creationId="{5903D12A-E9FF-426A-9B3F-9EB841BCBA05}"/>
          </ac:spMkLst>
        </pc:spChg>
        <pc:spChg chg="mod">
          <ac:chgData name="Cai, Simon (NSB - CN/Chengdu)" userId="37152ebf-cb41-4a71-820f-4428dc623117" providerId="ADAL" clId="{08352E1C-E79F-481B-B68D-B616E76FB2AF}" dt="2022-03-04T17:54:25.888" v="1556" actId="13926"/>
          <ac:spMkLst>
            <pc:docMk/>
            <pc:sldMk cId="1412868729" sldId="2146846793"/>
            <ac:spMk id="4" creationId="{4FEA7FB3-7D55-41BC-8FB3-5AA0C7531546}"/>
          </ac:spMkLst>
        </pc:spChg>
      </pc:sldChg>
      <pc:sldChg chg="modSp del mod">
        <pc:chgData name="Cai, Simon (NSB - CN/Chengdu)" userId="37152ebf-cb41-4a71-820f-4428dc623117" providerId="ADAL" clId="{08352E1C-E79F-481B-B68D-B616E76FB2AF}" dt="2022-03-06T15:07:33.383" v="1646" actId="47"/>
        <pc:sldMkLst>
          <pc:docMk/>
          <pc:sldMk cId="4266426746" sldId="2146846795"/>
        </pc:sldMkLst>
        <pc:spChg chg="mod">
          <ac:chgData name="Cai, Simon (NSB - CN/Chengdu)" userId="37152ebf-cb41-4a71-820f-4428dc623117" providerId="ADAL" clId="{08352E1C-E79F-481B-B68D-B616E76FB2AF}" dt="2022-03-04T17:02:24.031" v="1446" actId="120"/>
          <ac:spMkLst>
            <pc:docMk/>
            <pc:sldMk cId="4266426746" sldId="2146846795"/>
            <ac:spMk id="2" creationId="{21063D7B-AA75-4805-B36F-4E6E55F942F0}"/>
          </ac:spMkLst>
        </pc:spChg>
        <pc:spChg chg="mod">
          <ac:chgData name="Cai, Simon (NSB - CN/Chengdu)" userId="37152ebf-cb41-4a71-820f-4428dc623117" providerId="ADAL" clId="{08352E1C-E79F-481B-B68D-B616E76FB2AF}" dt="2022-03-03T20:06:34.141" v="1067" actId="20577"/>
          <ac:spMkLst>
            <pc:docMk/>
            <pc:sldMk cId="4266426746" sldId="2146846795"/>
            <ac:spMk id="3" creationId="{5903D12A-E9FF-426A-9B3F-9EB841BCBA05}"/>
          </ac:spMkLst>
        </pc:spChg>
        <pc:spChg chg="mod">
          <ac:chgData name="Cai, Simon (NSB - CN/Chengdu)" userId="37152ebf-cb41-4a71-820f-4428dc623117" providerId="ADAL" clId="{08352E1C-E79F-481B-B68D-B616E76FB2AF}" dt="2022-03-03T20:09:01.162" v="1168" actId="20577"/>
          <ac:spMkLst>
            <pc:docMk/>
            <pc:sldMk cId="4266426746" sldId="2146846795"/>
            <ac:spMk id="4" creationId="{4FEA7FB3-7D55-41BC-8FB3-5AA0C7531546}"/>
          </ac:spMkLst>
        </pc:spChg>
      </pc:sldChg>
      <pc:sldChg chg="delSp modSp new del mod">
        <pc:chgData name="Cai, Simon (NSB - CN/Chengdu)" userId="37152ebf-cb41-4a71-820f-4428dc623117" providerId="ADAL" clId="{08352E1C-E79F-481B-B68D-B616E76FB2AF}" dt="2022-03-06T15:07:33.383" v="1646" actId="47"/>
        <pc:sldMkLst>
          <pc:docMk/>
          <pc:sldMk cId="3995882045" sldId="2146846796"/>
        </pc:sldMkLst>
        <pc:spChg chg="del">
          <ac:chgData name="Cai, Simon (NSB - CN/Chengdu)" userId="37152ebf-cb41-4a71-820f-4428dc623117" providerId="ADAL" clId="{08352E1C-E79F-481B-B68D-B616E76FB2AF}" dt="2022-03-03T20:13:09.542" v="1193" actId="478"/>
          <ac:spMkLst>
            <pc:docMk/>
            <pc:sldMk cId="3995882045" sldId="2146846796"/>
            <ac:spMk id="2" creationId="{9AAF83CB-0B45-4203-BF8F-2BC4770859F3}"/>
          </ac:spMkLst>
        </pc:spChg>
        <pc:spChg chg="mod">
          <ac:chgData name="Cai, Simon (NSB - CN/Chengdu)" userId="37152ebf-cb41-4a71-820f-4428dc623117" providerId="ADAL" clId="{08352E1C-E79F-481B-B68D-B616E76FB2AF}" dt="2022-03-04T13:12:11.919" v="1382" actId="403"/>
          <ac:spMkLst>
            <pc:docMk/>
            <pc:sldMk cId="3995882045" sldId="2146846796"/>
            <ac:spMk id="3" creationId="{14466775-AF3B-4A34-ABB1-CF8F07D379C1}"/>
          </ac:spMkLst>
        </pc:spChg>
        <pc:spChg chg="mod">
          <ac:chgData name="Cai, Simon (NSB - CN/Chengdu)" userId="37152ebf-cb41-4a71-820f-4428dc623117" providerId="ADAL" clId="{08352E1C-E79F-481B-B68D-B616E76FB2AF}" dt="2022-03-04T13:13:18.044" v="1443" actId="20577"/>
          <ac:spMkLst>
            <pc:docMk/>
            <pc:sldMk cId="3995882045" sldId="2146846796"/>
            <ac:spMk id="4" creationId="{1B24E89F-C59B-4662-BD4D-9F93D4C2912C}"/>
          </ac:spMkLst>
        </pc:spChg>
      </pc:sldChg>
      <pc:sldChg chg="modSp new del mod ord">
        <pc:chgData name="Cai, Simon (NSB - CN/Chengdu)" userId="37152ebf-cb41-4a71-820f-4428dc623117" providerId="ADAL" clId="{08352E1C-E79F-481B-B68D-B616E76FB2AF}" dt="2022-03-06T15:07:33.383" v="1646" actId="47"/>
        <pc:sldMkLst>
          <pc:docMk/>
          <pc:sldMk cId="3714065670" sldId="2146846797"/>
        </pc:sldMkLst>
        <pc:spChg chg="mod">
          <ac:chgData name="Cai, Simon (NSB - CN/Chengdu)" userId="37152ebf-cb41-4a71-820f-4428dc623117" providerId="ADAL" clId="{08352E1C-E79F-481B-B68D-B616E76FB2AF}" dt="2022-03-04T17:49:57.478" v="1526" actId="20577"/>
          <ac:spMkLst>
            <pc:docMk/>
            <pc:sldMk cId="3714065670" sldId="2146846797"/>
            <ac:spMk id="2" creationId="{E605E6F5-F60F-4FF4-948E-B21710A6940E}"/>
          </ac:spMkLst>
        </pc:spChg>
        <pc:spChg chg="mod">
          <ac:chgData name="Cai, Simon (NSB - CN/Chengdu)" userId="37152ebf-cb41-4a71-820f-4428dc623117" providerId="ADAL" clId="{08352E1C-E79F-481B-B68D-B616E76FB2AF}" dt="2022-03-04T17:19:15.093" v="1456" actId="20577"/>
          <ac:spMkLst>
            <pc:docMk/>
            <pc:sldMk cId="3714065670" sldId="2146846797"/>
            <ac:spMk id="3" creationId="{0B3144FB-31AD-4B14-ACC1-7FA6F8044985}"/>
          </ac:spMkLst>
        </pc:spChg>
        <pc:spChg chg="mod">
          <ac:chgData name="Cai, Simon (NSB - CN/Chengdu)" userId="37152ebf-cb41-4a71-820f-4428dc623117" providerId="ADAL" clId="{08352E1C-E79F-481B-B68D-B616E76FB2AF}" dt="2022-03-06T14:18:04.139" v="1623" actId="20577"/>
          <ac:spMkLst>
            <pc:docMk/>
            <pc:sldMk cId="3714065670" sldId="2146846797"/>
            <ac:spMk id="4" creationId="{20B6F90E-2AFA-40CD-B5D5-4941238F7A90}"/>
          </ac:spMkLst>
        </pc:spChg>
      </pc:sldChg>
      <pc:sldChg chg="add">
        <pc:chgData name="Cai, Simon (NSB - CN/Chengdu)" userId="37152ebf-cb41-4a71-820f-4428dc623117" providerId="ADAL" clId="{08352E1C-E79F-481B-B68D-B616E76FB2AF}" dt="2022-03-06T15:06:55.116" v="1629"/>
        <pc:sldMkLst>
          <pc:docMk/>
          <pc:sldMk cId="3808526133" sldId="2146846805"/>
        </pc:sldMkLst>
      </pc:sldChg>
      <pc:sldChg chg="add">
        <pc:chgData name="Cai, Simon (NSB - CN/Chengdu)" userId="37152ebf-cb41-4a71-820f-4428dc623117" providerId="ADAL" clId="{08352E1C-E79F-481B-B68D-B616E76FB2AF}" dt="2022-03-06T15:06:56.507" v="1631"/>
        <pc:sldMkLst>
          <pc:docMk/>
          <pc:sldMk cId="3277035244" sldId="2146846806"/>
        </pc:sldMkLst>
      </pc:sldChg>
      <pc:sldChg chg="add">
        <pc:chgData name="Cai, Simon (NSB - CN/Chengdu)" userId="37152ebf-cb41-4a71-820f-4428dc623117" providerId="ADAL" clId="{08352E1C-E79F-481B-B68D-B616E76FB2AF}" dt="2022-03-06T15:06:58.007" v="1633"/>
        <pc:sldMkLst>
          <pc:docMk/>
          <pc:sldMk cId="2703188842" sldId="2146846807"/>
        </pc:sldMkLst>
      </pc:sldChg>
      <pc:sldChg chg="add">
        <pc:chgData name="Cai, Simon (NSB - CN/Chengdu)" userId="37152ebf-cb41-4a71-820f-4428dc623117" providerId="ADAL" clId="{08352E1C-E79F-481B-B68D-B616E76FB2AF}" dt="2022-03-06T15:07:02.802" v="1635"/>
        <pc:sldMkLst>
          <pc:docMk/>
          <pc:sldMk cId="1201349032" sldId="2146846808"/>
        </pc:sldMkLst>
      </pc:sldChg>
      <pc:sldChg chg="modSp add mod">
        <pc:chgData name="Cai, Simon (NSB - CN/Chengdu)" userId="37152ebf-cb41-4a71-820f-4428dc623117" providerId="ADAL" clId="{08352E1C-E79F-481B-B68D-B616E76FB2AF}" dt="2022-03-06T20:19:00.346" v="1658" actId="6549"/>
        <pc:sldMkLst>
          <pc:docMk/>
          <pc:sldMk cId="1577089045" sldId="2146846809"/>
        </pc:sldMkLst>
        <pc:spChg chg="mod">
          <ac:chgData name="Cai, Simon (NSB - CN/Chengdu)" userId="37152ebf-cb41-4a71-820f-4428dc623117" providerId="ADAL" clId="{08352E1C-E79F-481B-B68D-B616E76FB2AF}" dt="2022-03-06T20:19:00.346" v="1658" actId="6549"/>
          <ac:spMkLst>
            <pc:docMk/>
            <pc:sldMk cId="1577089045" sldId="2146846809"/>
            <ac:spMk id="4" creationId="{F77E3C3D-EB91-42A6-9DD7-9AE463F0735C}"/>
          </ac:spMkLst>
        </pc:spChg>
      </pc:sldChg>
      <pc:sldChg chg="add">
        <pc:chgData name="Cai, Simon (NSB - CN/Chengdu)" userId="37152ebf-cb41-4a71-820f-4428dc623117" providerId="ADAL" clId="{08352E1C-E79F-481B-B68D-B616E76FB2AF}" dt="2022-03-06T15:07:05.271" v="1639"/>
        <pc:sldMkLst>
          <pc:docMk/>
          <pc:sldMk cId="3689742044" sldId="2146846810"/>
        </pc:sldMkLst>
      </pc:sldChg>
      <pc:sldChg chg="add">
        <pc:chgData name="Cai, Simon (NSB - CN/Chengdu)" userId="37152ebf-cb41-4a71-820f-4428dc623117" providerId="ADAL" clId="{08352E1C-E79F-481B-B68D-B616E76FB2AF}" dt="2022-03-06T15:07:09.874" v="1641"/>
        <pc:sldMkLst>
          <pc:docMk/>
          <pc:sldMk cId="1362171089" sldId="2146846811"/>
        </pc:sldMkLst>
      </pc:sldChg>
      <pc:sldChg chg="modSp add mod">
        <pc:chgData name="Cai, Simon (NSB - CN/Chengdu)" userId="37152ebf-cb41-4a71-820f-4428dc623117" providerId="ADAL" clId="{08352E1C-E79F-481B-B68D-B616E76FB2AF}" dt="2022-03-06T20:36:54.038" v="1676" actId="20577"/>
        <pc:sldMkLst>
          <pc:docMk/>
          <pc:sldMk cId="824842090" sldId="2146846812"/>
        </pc:sldMkLst>
        <pc:spChg chg="mod">
          <ac:chgData name="Cai, Simon (NSB - CN/Chengdu)" userId="37152ebf-cb41-4a71-820f-4428dc623117" providerId="ADAL" clId="{08352E1C-E79F-481B-B68D-B616E76FB2AF}" dt="2022-03-06T20:36:54.038" v="1676" actId="20577"/>
          <ac:spMkLst>
            <pc:docMk/>
            <pc:sldMk cId="824842090" sldId="2146846812"/>
            <ac:spMk id="2" creationId="{0D4BBCB1-DFB1-4411-A236-402971B4988F}"/>
          </ac:spMkLst>
        </pc:spChg>
      </pc:sldChg>
      <pc:sldChg chg="add">
        <pc:chgData name="Cai, Simon (NSB - CN/Chengdu)" userId="37152ebf-cb41-4a71-820f-4428dc623117" providerId="ADAL" clId="{08352E1C-E79F-481B-B68D-B616E76FB2AF}" dt="2022-03-06T15:07:12.327" v="1645"/>
        <pc:sldMkLst>
          <pc:docMk/>
          <pc:sldMk cId="3401332451" sldId="2146846813"/>
        </pc:sldMkLst>
      </pc:sldChg>
    </pc:docChg>
  </pc:docChgLst>
  <pc:docChgLst>
    <pc:chgData name="Chandramouli, Devaki (Nokia - US/Dallas)" userId="ebf2a9f8-651b-4485-926f-9d93c0eafbc5" providerId="ADAL" clId="{7CB846E0-9E3D-40C9-842C-F33098DC4914}"/>
    <pc:docChg chg="undo custSel addSld delSld modSld">
      <pc:chgData name="Chandramouli, Devaki (Nokia - US/Dallas)" userId="ebf2a9f8-651b-4485-926f-9d93c0eafbc5" providerId="ADAL" clId="{7CB846E0-9E3D-40C9-842C-F33098DC4914}" dt="2020-06-22T23:12:03.130" v="797" actId="20577"/>
      <pc:docMkLst>
        <pc:docMk/>
      </pc:docMkLst>
      <pc:sldChg chg="addSp delSp modSp">
        <pc:chgData name="Chandramouli, Devaki (Nokia - US/Dallas)" userId="ebf2a9f8-651b-4485-926f-9d93c0eafbc5" providerId="ADAL" clId="{7CB846E0-9E3D-40C9-842C-F33098DC4914}" dt="2020-06-22T23:05:20.643" v="585" actId="20577"/>
        <pc:sldMkLst>
          <pc:docMk/>
          <pc:sldMk cId="2373054351" sldId="281"/>
        </pc:sldMkLst>
        <pc:spChg chg="mod">
          <ac:chgData name="Chandramouli, Devaki (Nokia - US/Dallas)" userId="ebf2a9f8-651b-4485-926f-9d93c0eafbc5" providerId="ADAL" clId="{7CB846E0-9E3D-40C9-842C-F33098DC4914}" dt="2020-06-22T23:05:20.643" v="585" actId="20577"/>
          <ac:spMkLst>
            <pc:docMk/>
            <pc:sldMk cId="2373054351" sldId="281"/>
            <ac:spMk id="5" creationId="{A560F786-3A6C-41F0-99EF-DFF4DE7F777C}"/>
          </ac:spMkLst>
        </pc:spChg>
        <pc:spChg chg="add del">
          <ac:chgData name="Chandramouli, Devaki (Nokia - US/Dallas)" userId="ebf2a9f8-651b-4485-926f-9d93c0eafbc5" providerId="ADAL" clId="{7CB846E0-9E3D-40C9-842C-F33098DC4914}" dt="2020-06-22T23:04:59.294" v="581"/>
          <ac:spMkLst>
            <pc:docMk/>
            <pc:sldMk cId="2373054351" sldId="281"/>
            <ac:spMk id="7" creationId="{9271D15B-9590-441C-B70F-F16AF18BCC91}"/>
          </ac:spMkLst>
        </pc:spChg>
        <pc:graphicFrameChg chg="add del">
          <ac:chgData name="Chandramouli, Devaki (Nokia - US/Dallas)" userId="ebf2a9f8-651b-4485-926f-9d93c0eafbc5" providerId="ADAL" clId="{7CB846E0-9E3D-40C9-842C-F33098DC4914}" dt="2020-06-22T23:04:59.294" v="581"/>
          <ac:graphicFrameMkLst>
            <pc:docMk/>
            <pc:sldMk cId="2373054351" sldId="281"/>
            <ac:graphicFrameMk id="6" creationId="{E143C4ED-7103-4D39-AECC-3BD67438FF5E}"/>
          </ac:graphicFrameMkLst>
        </pc:graphicFrameChg>
      </pc:sldChg>
      <pc:sldChg chg="addSp delSp modSp">
        <pc:chgData name="Chandramouli, Devaki (Nokia - US/Dallas)" userId="ebf2a9f8-651b-4485-926f-9d93c0eafbc5" providerId="ADAL" clId="{7CB846E0-9E3D-40C9-842C-F33098DC4914}" dt="2020-06-22T23:07:11.367" v="683" actId="6549"/>
        <pc:sldMkLst>
          <pc:docMk/>
          <pc:sldMk cId="2557244844" sldId="288"/>
        </pc:sldMkLst>
        <pc:spChg chg="mod">
          <ac:chgData name="Chandramouli, Devaki (Nokia - US/Dallas)" userId="ebf2a9f8-651b-4485-926f-9d93c0eafbc5" providerId="ADAL" clId="{7CB846E0-9E3D-40C9-842C-F33098DC4914}" dt="2020-06-22T23:07:11.367" v="683" actId="6549"/>
          <ac:spMkLst>
            <pc:docMk/>
            <pc:sldMk cId="2557244844" sldId="288"/>
            <ac:spMk id="5" creationId="{A560F786-3A6C-41F0-99EF-DFF4DE7F777C}"/>
          </ac:spMkLst>
        </pc:spChg>
        <pc:graphicFrameChg chg="add del">
          <ac:chgData name="Chandramouli, Devaki (Nokia - US/Dallas)" userId="ebf2a9f8-651b-4485-926f-9d93c0eafbc5" providerId="ADAL" clId="{7CB846E0-9E3D-40C9-842C-F33098DC4914}" dt="2020-06-22T23:06:46.288" v="670"/>
          <ac:graphicFrameMkLst>
            <pc:docMk/>
            <pc:sldMk cId="2557244844" sldId="288"/>
            <ac:graphicFrameMk id="6" creationId="{BC085B9B-9C22-4171-B59B-4AC5C09EDDAB}"/>
          </ac:graphicFrameMkLst>
        </pc:graphicFrameChg>
      </pc:sldChg>
      <pc:sldChg chg="modSp">
        <pc:chgData name="Chandramouli, Devaki (Nokia - US/Dallas)" userId="ebf2a9f8-651b-4485-926f-9d93c0eafbc5" providerId="ADAL" clId="{7CB846E0-9E3D-40C9-842C-F33098DC4914}" dt="2020-06-22T23:11:25.950" v="772" actId="255"/>
        <pc:sldMkLst>
          <pc:docMk/>
          <pc:sldMk cId="2462381644" sldId="291"/>
        </pc:sldMkLst>
        <pc:spChg chg="mod">
          <ac:chgData name="Chandramouli, Devaki (Nokia - US/Dallas)" userId="ebf2a9f8-651b-4485-926f-9d93c0eafbc5" providerId="ADAL" clId="{7CB846E0-9E3D-40C9-842C-F33098DC4914}" dt="2020-06-22T23:11:25.950" v="772" actId="255"/>
          <ac:spMkLst>
            <pc:docMk/>
            <pc:sldMk cId="2462381644" sldId="291"/>
            <ac:spMk id="5" creationId="{A560F786-3A6C-41F0-99EF-DFF4DE7F777C}"/>
          </ac:spMkLst>
        </pc:spChg>
      </pc:sldChg>
      <pc:sldChg chg="modSp">
        <pc:chgData name="Chandramouli, Devaki (Nokia - US/Dallas)" userId="ebf2a9f8-651b-4485-926f-9d93c0eafbc5" providerId="ADAL" clId="{7CB846E0-9E3D-40C9-842C-F33098DC4914}" dt="2020-06-22T23:11:50.871" v="777" actId="20577"/>
        <pc:sldMkLst>
          <pc:docMk/>
          <pc:sldMk cId="1456803108" sldId="294"/>
        </pc:sldMkLst>
        <pc:spChg chg="mod">
          <ac:chgData name="Chandramouli, Devaki (Nokia - US/Dallas)" userId="ebf2a9f8-651b-4485-926f-9d93c0eafbc5" providerId="ADAL" clId="{7CB846E0-9E3D-40C9-842C-F33098DC4914}" dt="2020-06-22T23:11:50.871" v="777" actId="20577"/>
          <ac:spMkLst>
            <pc:docMk/>
            <pc:sldMk cId="1456803108" sldId="294"/>
            <ac:spMk id="5" creationId="{A560F786-3A6C-41F0-99EF-DFF4DE7F777C}"/>
          </ac:spMkLst>
        </pc:spChg>
      </pc:sldChg>
      <pc:sldChg chg="modSp">
        <pc:chgData name="Chandramouli, Devaki (Nokia - US/Dallas)" userId="ebf2a9f8-651b-4485-926f-9d93c0eafbc5" providerId="ADAL" clId="{7CB846E0-9E3D-40C9-842C-F33098DC4914}" dt="2020-06-22T23:12:03.130" v="797" actId="20577"/>
        <pc:sldMkLst>
          <pc:docMk/>
          <pc:sldMk cId="1968315161" sldId="295"/>
        </pc:sldMkLst>
        <pc:spChg chg="mod">
          <ac:chgData name="Chandramouli, Devaki (Nokia - US/Dallas)" userId="ebf2a9f8-651b-4485-926f-9d93c0eafbc5" providerId="ADAL" clId="{7CB846E0-9E3D-40C9-842C-F33098DC4914}" dt="2020-06-22T23:12:03.130" v="797" actId="20577"/>
          <ac:spMkLst>
            <pc:docMk/>
            <pc:sldMk cId="1968315161" sldId="295"/>
            <ac:spMk id="5" creationId="{A560F786-3A6C-41F0-99EF-DFF4DE7F777C}"/>
          </ac:spMkLst>
        </pc:spChg>
      </pc:sldChg>
      <pc:sldChg chg="del">
        <pc:chgData name="Chandramouli, Devaki (Nokia - US/Dallas)" userId="ebf2a9f8-651b-4485-926f-9d93c0eafbc5" providerId="ADAL" clId="{7CB846E0-9E3D-40C9-842C-F33098DC4914}" dt="2020-06-22T23:08:42.766" v="684" actId="2696"/>
        <pc:sldMkLst>
          <pc:docMk/>
          <pc:sldMk cId="2879298224" sldId="343"/>
        </pc:sldMkLst>
      </pc:sldChg>
      <pc:sldChg chg="modSp">
        <pc:chgData name="Chandramouli, Devaki (Nokia - US/Dallas)" userId="ebf2a9f8-651b-4485-926f-9d93c0eafbc5" providerId="ADAL" clId="{7CB846E0-9E3D-40C9-842C-F33098DC4914}" dt="2020-06-22T22:45:37.311" v="20" actId="113"/>
        <pc:sldMkLst>
          <pc:docMk/>
          <pc:sldMk cId="1886061748" sldId="355"/>
        </pc:sldMkLst>
        <pc:spChg chg="mod">
          <ac:chgData name="Chandramouli, Devaki (Nokia - US/Dallas)" userId="ebf2a9f8-651b-4485-926f-9d93c0eafbc5" providerId="ADAL" clId="{7CB846E0-9E3D-40C9-842C-F33098DC4914}" dt="2020-06-22T22:45:37.311" v="20" actId="113"/>
          <ac:spMkLst>
            <pc:docMk/>
            <pc:sldMk cId="1886061748" sldId="355"/>
            <ac:spMk id="4" creationId="{5C8D5078-B8D0-4095-8466-64F7613FE8A6}"/>
          </ac:spMkLst>
        </pc:spChg>
      </pc:sldChg>
      <pc:sldChg chg="modSp">
        <pc:chgData name="Chandramouli, Devaki (Nokia - US/Dallas)" userId="ebf2a9f8-651b-4485-926f-9d93c0eafbc5" providerId="ADAL" clId="{7CB846E0-9E3D-40C9-842C-F33098DC4914}" dt="2020-06-22T22:49:55.473" v="544" actId="6549"/>
        <pc:sldMkLst>
          <pc:docMk/>
          <pc:sldMk cId="887653284" sldId="359"/>
        </pc:sldMkLst>
        <pc:spChg chg="mod">
          <ac:chgData name="Chandramouli, Devaki (Nokia - US/Dallas)" userId="ebf2a9f8-651b-4485-926f-9d93c0eafbc5" providerId="ADAL" clId="{7CB846E0-9E3D-40C9-842C-F33098DC4914}" dt="2020-06-22T22:49:55.473" v="544" actId="6549"/>
          <ac:spMkLst>
            <pc:docMk/>
            <pc:sldMk cId="887653284" sldId="359"/>
            <ac:spMk id="4" creationId="{5C8D5078-B8D0-4095-8466-64F7613FE8A6}"/>
          </ac:spMkLst>
        </pc:spChg>
      </pc:sldChg>
      <pc:sldChg chg="modSp">
        <pc:chgData name="Chandramouli, Devaki (Nokia - US/Dallas)" userId="ebf2a9f8-651b-4485-926f-9d93c0eafbc5" providerId="ADAL" clId="{7CB846E0-9E3D-40C9-842C-F33098DC4914}" dt="2020-06-22T22:43:38.283" v="6" actId="27636"/>
        <pc:sldMkLst>
          <pc:docMk/>
          <pc:sldMk cId="2779250645" sldId="366"/>
        </pc:sldMkLst>
        <pc:spChg chg="mod">
          <ac:chgData name="Chandramouli, Devaki (Nokia - US/Dallas)" userId="ebf2a9f8-651b-4485-926f-9d93c0eafbc5" providerId="ADAL" clId="{7CB846E0-9E3D-40C9-842C-F33098DC4914}" dt="2020-06-22T22:43:38.283" v="6" actId="27636"/>
          <ac:spMkLst>
            <pc:docMk/>
            <pc:sldMk cId="2779250645" sldId="366"/>
            <ac:spMk id="4" creationId="{5C8D5078-B8D0-4095-8466-64F7613FE8A6}"/>
          </ac:spMkLst>
        </pc:spChg>
      </pc:sldChg>
      <pc:sldChg chg="modSp">
        <pc:chgData name="Chandramouli, Devaki (Nokia - US/Dallas)" userId="ebf2a9f8-651b-4485-926f-9d93c0eafbc5" providerId="ADAL" clId="{7CB846E0-9E3D-40C9-842C-F33098DC4914}" dt="2020-06-22T22:43:38.352" v="7" actId="27636"/>
        <pc:sldMkLst>
          <pc:docMk/>
          <pc:sldMk cId="3522996091" sldId="367"/>
        </pc:sldMkLst>
        <pc:spChg chg="mod">
          <ac:chgData name="Chandramouli, Devaki (Nokia - US/Dallas)" userId="ebf2a9f8-651b-4485-926f-9d93c0eafbc5" providerId="ADAL" clId="{7CB846E0-9E3D-40C9-842C-F33098DC4914}" dt="2020-06-22T22:43:38.352" v="7" actId="27636"/>
          <ac:spMkLst>
            <pc:docMk/>
            <pc:sldMk cId="3522996091" sldId="367"/>
            <ac:spMk id="4" creationId="{5C8D5078-B8D0-4095-8466-64F7613FE8A6}"/>
          </ac:spMkLst>
        </pc:spChg>
      </pc:sldChg>
      <pc:sldChg chg="modSp">
        <pc:chgData name="Chandramouli, Devaki (Nokia - US/Dallas)" userId="ebf2a9f8-651b-4485-926f-9d93c0eafbc5" providerId="ADAL" clId="{7CB846E0-9E3D-40C9-842C-F33098DC4914}" dt="2020-06-22T22:43:38.425" v="8" actId="27636"/>
        <pc:sldMkLst>
          <pc:docMk/>
          <pc:sldMk cId="4003911250" sldId="371"/>
        </pc:sldMkLst>
        <pc:spChg chg="mod">
          <ac:chgData name="Chandramouli, Devaki (Nokia - US/Dallas)" userId="ebf2a9f8-651b-4485-926f-9d93c0eafbc5" providerId="ADAL" clId="{7CB846E0-9E3D-40C9-842C-F33098DC4914}" dt="2020-06-22T22:43:38.425" v="8" actId="27636"/>
          <ac:spMkLst>
            <pc:docMk/>
            <pc:sldMk cId="4003911250" sldId="371"/>
            <ac:spMk id="4" creationId="{5C8D5078-B8D0-4095-8466-64F7613FE8A6}"/>
          </ac:spMkLst>
        </pc:spChg>
      </pc:sldChg>
      <pc:sldChg chg="modSp add">
        <pc:chgData name="Chandramouli, Devaki (Nokia - US/Dallas)" userId="ebf2a9f8-651b-4485-926f-9d93c0eafbc5" providerId="ADAL" clId="{7CB846E0-9E3D-40C9-842C-F33098DC4914}" dt="2020-06-22T22:48:44.648" v="534" actId="27636"/>
        <pc:sldMkLst>
          <pc:docMk/>
          <pc:sldMk cId="3887047611" sldId="372"/>
        </pc:sldMkLst>
        <pc:spChg chg="mod">
          <ac:chgData name="Chandramouli, Devaki (Nokia - US/Dallas)" userId="ebf2a9f8-651b-4485-926f-9d93c0eafbc5" providerId="ADAL" clId="{7CB846E0-9E3D-40C9-842C-F33098DC4914}" dt="2020-06-22T22:48:44.648" v="534" actId="27636"/>
          <ac:spMkLst>
            <pc:docMk/>
            <pc:sldMk cId="3887047611" sldId="372"/>
            <ac:spMk id="4" creationId="{5C8D5078-B8D0-4095-8466-64F7613FE8A6}"/>
          </ac:spMkLst>
        </pc:spChg>
      </pc:sldChg>
      <pc:sldChg chg="modSp add">
        <pc:chgData name="Chandramouli, Devaki (Nokia - US/Dallas)" userId="ebf2a9f8-651b-4485-926f-9d93c0eafbc5" providerId="ADAL" clId="{7CB846E0-9E3D-40C9-842C-F33098DC4914}" dt="2020-06-22T23:01:50.760" v="564"/>
        <pc:sldMkLst>
          <pc:docMk/>
          <pc:sldMk cId="2364299864" sldId="373"/>
        </pc:sldMkLst>
        <pc:spChg chg="mod">
          <ac:chgData name="Chandramouli, Devaki (Nokia - US/Dallas)" userId="ebf2a9f8-651b-4485-926f-9d93c0eafbc5" providerId="ADAL" clId="{7CB846E0-9E3D-40C9-842C-F33098DC4914}" dt="2020-06-22T23:01:50.760" v="564"/>
          <ac:spMkLst>
            <pc:docMk/>
            <pc:sldMk cId="2364299864" sldId="373"/>
            <ac:spMk id="4" creationId="{5C8D5078-B8D0-4095-8466-64F7613FE8A6}"/>
          </ac:spMkLst>
        </pc:spChg>
      </pc:sldChg>
      <pc:sldChg chg="add del">
        <pc:chgData name="Chandramouli, Devaki (Nokia - US/Dallas)" userId="ebf2a9f8-651b-4485-926f-9d93c0eafbc5" providerId="ADAL" clId="{7CB846E0-9E3D-40C9-842C-F33098DC4914}" dt="2020-06-22T23:02:25.316" v="567" actId="2696"/>
        <pc:sldMkLst>
          <pc:docMk/>
          <pc:sldMk cId="1313460249" sldId="374"/>
        </pc:sldMkLst>
      </pc:sldChg>
      <pc:sldChg chg="modSp add">
        <pc:chgData name="Chandramouli, Devaki (Nokia - US/Dallas)" userId="ebf2a9f8-651b-4485-926f-9d93c0eafbc5" providerId="ADAL" clId="{7CB846E0-9E3D-40C9-842C-F33098DC4914}" dt="2020-06-22T23:03:05.863" v="570" actId="6549"/>
        <pc:sldMkLst>
          <pc:docMk/>
          <pc:sldMk cId="1345092997" sldId="375"/>
        </pc:sldMkLst>
        <pc:spChg chg="mod">
          <ac:chgData name="Chandramouli, Devaki (Nokia - US/Dallas)" userId="ebf2a9f8-651b-4485-926f-9d93c0eafbc5" providerId="ADAL" clId="{7CB846E0-9E3D-40C9-842C-F33098DC4914}" dt="2020-06-22T23:03:05.863" v="570" actId="6549"/>
          <ac:spMkLst>
            <pc:docMk/>
            <pc:sldMk cId="1345092997" sldId="375"/>
            <ac:spMk id="4" creationId="{5C8D5078-B8D0-4095-8466-64F7613FE8A6}"/>
          </ac:spMkLst>
        </pc:spChg>
      </pc:sldChg>
    </pc:docChg>
  </pc:docChgLst>
  <pc:docChgLst>
    <pc:chgData name="Giust, Fabio (Nokia - DE/Munich)" userId="4032e17e-121c-4a4e-b875-df2f68eb573c" providerId="ADAL" clId="{0C1C67AF-CA6E-4275-A43B-BF66C55B38B8}"/>
    <pc:docChg chg="undo redo custSel addSld delSld modSld">
      <pc:chgData name="Giust, Fabio (Nokia - DE/Munich)" userId="4032e17e-121c-4a4e-b875-df2f68eb573c" providerId="ADAL" clId="{0C1C67AF-CA6E-4275-A43B-BF66C55B38B8}" dt="2022-06-10T16:13:20.014" v="695" actId="20577"/>
      <pc:docMkLst>
        <pc:docMk/>
      </pc:docMkLst>
      <pc:sldChg chg="addSp delSp modSp mod chgLayout">
        <pc:chgData name="Giust, Fabio (Nokia - DE/Munich)" userId="4032e17e-121c-4a4e-b875-df2f68eb573c" providerId="ADAL" clId="{0C1C67AF-CA6E-4275-A43B-BF66C55B38B8}" dt="2022-06-10T16:13:20.014" v="695" actId="20577"/>
        <pc:sldMkLst>
          <pc:docMk/>
          <pc:sldMk cId="3917494353" sldId="2134805594"/>
        </pc:sldMkLst>
        <pc:spChg chg="del">
          <ac:chgData name="Giust, Fabio (Nokia - DE/Munich)" userId="4032e17e-121c-4a4e-b875-df2f68eb573c" providerId="ADAL" clId="{0C1C67AF-CA6E-4275-A43B-BF66C55B38B8}" dt="2022-06-10T08:50:58.064" v="57" actId="478"/>
          <ac:spMkLst>
            <pc:docMk/>
            <pc:sldMk cId="3917494353" sldId="2134805594"/>
            <ac:spMk id="2" creationId="{F55F6DD9-9F73-4475-B4C0-0BD35C69E49D}"/>
          </ac:spMkLst>
        </pc:spChg>
        <pc:spChg chg="del">
          <ac:chgData name="Giust, Fabio (Nokia - DE/Munich)" userId="4032e17e-121c-4a4e-b875-df2f68eb573c" providerId="ADAL" clId="{0C1C67AF-CA6E-4275-A43B-BF66C55B38B8}" dt="2022-06-10T08:50:58.064" v="57" actId="478"/>
          <ac:spMkLst>
            <pc:docMk/>
            <pc:sldMk cId="3917494353" sldId="2134805594"/>
            <ac:spMk id="3" creationId="{506A8607-C5AE-48A7-9AC8-7B6F426DD14D}"/>
          </ac:spMkLst>
        </pc:spChg>
        <pc:spChg chg="mod ord">
          <ac:chgData name="Giust, Fabio (Nokia - DE/Munich)" userId="4032e17e-121c-4a4e-b875-df2f68eb573c" providerId="ADAL" clId="{0C1C67AF-CA6E-4275-A43B-BF66C55B38B8}" dt="2022-06-10T16:12:08.597" v="693"/>
          <ac:spMkLst>
            <pc:docMk/>
            <pc:sldMk cId="3917494353" sldId="2134805594"/>
            <ac:spMk id="4" creationId="{CD72C33D-DF40-4601-AF02-8DFD5A6EA958}"/>
          </ac:spMkLst>
        </pc:spChg>
        <pc:spChg chg="add mod ord">
          <ac:chgData name="Giust, Fabio (Nokia - DE/Munich)" userId="4032e17e-121c-4a4e-b875-df2f68eb573c" providerId="ADAL" clId="{0C1C67AF-CA6E-4275-A43B-BF66C55B38B8}" dt="2022-06-10T08:51:46.638" v="65" actId="700"/>
          <ac:spMkLst>
            <pc:docMk/>
            <pc:sldMk cId="3917494353" sldId="2134805594"/>
            <ac:spMk id="7" creationId="{831DF6A5-C4BD-4FE9-921B-93FBAC10094C}"/>
          </ac:spMkLst>
        </pc:spChg>
        <pc:spChg chg="add mod ord">
          <ac:chgData name="Giust, Fabio (Nokia - DE/Munich)" userId="4032e17e-121c-4a4e-b875-df2f68eb573c" providerId="ADAL" clId="{0C1C67AF-CA6E-4275-A43B-BF66C55B38B8}" dt="2022-06-10T16:11:24.517" v="691" actId="20577"/>
          <ac:spMkLst>
            <pc:docMk/>
            <pc:sldMk cId="3917494353" sldId="2134805594"/>
            <ac:spMk id="9" creationId="{F73D699F-F851-4FC8-A451-7DA70A9AAF4B}"/>
          </ac:spMkLst>
        </pc:spChg>
        <pc:spChg chg="add del mod">
          <ac:chgData name="Giust, Fabio (Nokia - DE/Munich)" userId="4032e17e-121c-4a4e-b875-df2f68eb573c" providerId="ADAL" clId="{0C1C67AF-CA6E-4275-A43B-BF66C55B38B8}" dt="2022-06-10T08:51:03.822" v="59"/>
          <ac:spMkLst>
            <pc:docMk/>
            <pc:sldMk cId="3917494353" sldId="2134805594"/>
            <ac:spMk id="10" creationId="{74E67B24-59A3-415A-AE72-90C69186E004}"/>
          </ac:spMkLst>
        </pc:spChg>
        <pc:spChg chg="add del mod">
          <ac:chgData name="Giust, Fabio (Nokia - DE/Munich)" userId="4032e17e-121c-4a4e-b875-df2f68eb573c" providerId="ADAL" clId="{0C1C67AF-CA6E-4275-A43B-BF66C55B38B8}" dt="2022-06-10T08:51:03.822" v="59"/>
          <ac:spMkLst>
            <pc:docMk/>
            <pc:sldMk cId="3917494353" sldId="2134805594"/>
            <ac:spMk id="11" creationId="{C9CDFBC2-3570-4D2D-8242-864C82CB700B}"/>
          </ac:spMkLst>
        </pc:spChg>
        <pc:graphicFrameChg chg="modGraphic">
          <ac:chgData name="Giust, Fabio (Nokia - DE/Munich)" userId="4032e17e-121c-4a4e-b875-df2f68eb573c" providerId="ADAL" clId="{0C1C67AF-CA6E-4275-A43B-BF66C55B38B8}" dt="2022-06-10T16:13:20.014" v="695" actId="20577"/>
          <ac:graphicFrameMkLst>
            <pc:docMk/>
            <pc:sldMk cId="3917494353" sldId="2134805594"/>
            <ac:graphicFrameMk id="5" creationId="{147F1A6A-0E16-4C84-8E82-5039900CDD75}"/>
          </ac:graphicFrameMkLst>
        </pc:graphicFrameChg>
      </pc:sldChg>
      <pc:sldChg chg="modSp del mod chgLayout">
        <pc:chgData name="Giust, Fabio (Nokia - DE/Munich)" userId="4032e17e-121c-4a4e-b875-df2f68eb573c" providerId="ADAL" clId="{0C1C67AF-CA6E-4275-A43B-BF66C55B38B8}" dt="2022-06-10T08:52:13.399" v="72" actId="47"/>
        <pc:sldMkLst>
          <pc:docMk/>
          <pc:sldMk cId="476435417" sldId="2146846798"/>
        </pc:sldMkLst>
        <pc:spChg chg="mod ord">
          <ac:chgData name="Giust, Fabio (Nokia - DE/Munich)" userId="4032e17e-121c-4a4e-b875-df2f68eb573c" providerId="ADAL" clId="{0C1C67AF-CA6E-4275-A43B-BF66C55B38B8}" dt="2022-06-10T08:51:56.170" v="67" actId="403"/>
          <ac:spMkLst>
            <pc:docMk/>
            <pc:sldMk cId="476435417" sldId="2146846798"/>
            <ac:spMk id="2" creationId="{A5C5FA6B-5232-442C-A83D-15FD43352800}"/>
          </ac:spMkLst>
        </pc:spChg>
        <pc:spChg chg="mod ord">
          <ac:chgData name="Giust, Fabio (Nokia - DE/Munich)" userId="4032e17e-121c-4a4e-b875-df2f68eb573c" providerId="ADAL" clId="{0C1C67AF-CA6E-4275-A43B-BF66C55B38B8}" dt="2022-06-10T08:51:53.579" v="66" actId="403"/>
          <ac:spMkLst>
            <pc:docMk/>
            <pc:sldMk cId="476435417" sldId="2146846798"/>
            <ac:spMk id="3" creationId="{A305376B-8071-4719-B971-8158735C5B7F}"/>
          </ac:spMkLst>
        </pc:spChg>
        <pc:spChg chg="mod ord">
          <ac:chgData name="Giust, Fabio (Nokia - DE/Munich)" userId="4032e17e-121c-4a4e-b875-df2f68eb573c" providerId="ADAL" clId="{0C1C67AF-CA6E-4275-A43B-BF66C55B38B8}" dt="2022-06-10T08:51:40.224" v="64" actId="27636"/>
          <ac:spMkLst>
            <pc:docMk/>
            <pc:sldMk cId="476435417" sldId="2146846798"/>
            <ac:spMk id="4" creationId="{FC0D3EA9-8686-465E-AF3E-02775AA807DF}"/>
          </ac:spMkLst>
        </pc:spChg>
      </pc:sldChg>
      <pc:sldChg chg="addSp modSp add mod chgLayout">
        <pc:chgData name="Giust, Fabio (Nokia - DE/Munich)" userId="4032e17e-121c-4a4e-b875-df2f68eb573c" providerId="ADAL" clId="{0C1C67AF-CA6E-4275-A43B-BF66C55B38B8}" dt="2022-06-10T16:08:47.130" v="690" actId="20577"/>
        <pc:sldMkLst>
          <pc:docMk/>
          <pc:sldMk cId="809243930" sldId="2146846881"/>
        </pc:sldMkLst>
        <pc:spChg chg="mod ord">
          <ac:chgData name="Giust, Fabio (Nokia - DE/Munich)" userId="4032e17e-121c-4a4e-b875-df2f68eb573c" providerId="ADAL" clId="{0C1C67AF-CA6E-4275-A43B-BF66C55B38B8}" dt="2022-06-10T08:52:11.419" v="71" actId="403"/>
          <ac:spMkLst>
            <pc:docMk/>
            <pc:sldMk cId="809243930" sldId="2146846881"/>
            <ac:spMk id="2" creationId="{A5C5FA6B-5232-442C-A83D-15FD43352800}"/>
          </ac:spMkLst>
        </pc:spChg>
        <pc:spChg chg="mod ord">
          <ac:chgData name="Giust, Fabio (Nokia - DE/Munich)" userId="4032e17e-121c-4a4e-b875-df2f68eb573c" providerId="ADAL" clId="{0C1C67AF-CA6E-4275-A43B-BF66C55B38B8}" dt="2022-06-10T08:52:09.172" v="70" actId="403"/>
          <ac:spMkLst>
            <pc:docMk/>
            <pc:sldMk cId="809243930" sldId="2146846881"/>
            <ac:spMk id="3" creationId="{A305376B-8071-4719-B971-8158735C5B7F}"/>
          </ac:spMkLst>
        </pc:spChg>
        <pc:spChg chg="mod ord">
          <ac:chgData name="Giust, Fabio (Nokia - DE/Munich)" userId="4032e17e-121c-4a4e-b875-df2f68eb573c" providerId="ADAL" clId="{0C1C67AF-CA6E-4275-A43B-BF66C55B38B8}" dt="2022-06-10T16:08:47.130" v="690" actId="20577"/>
          <ac:spMkLst>
            <pc:docMk/>
            <pc:sldMk cId="809243930" sldId="2146846881"/>
            <ac:spMk id="4" creationId="{FC0D3EA9-8686-465E-AF3E-02775AA807DF}"/>
          </ac:spMkLst>
        </pc:spChg>
        <pc:spChg chg="add mod">
          <ac:chgData name="Giust, Fabio (Nokia - DE/Munich)" userId="4032e17e-121c-4a4e-b875-df2f68eb573c" providerId="ADAL" clId="{0C1C67AF-CA6E-4275-A43B-BF66C55B38B8}" dt="2022-06-10T16:01:02.058" v="537" actId="14100"/>
          <ac:spMkLst>
            <pc:docMk/>
            <pc:sldMk cId="809243930" sldId="2146846881"/>
            <ac:spMk id="5" creationId="{5D83ADCE-3EEB-4671-ADD3-A5E156AD3F9D}"/>
          </ac:spMkLst>
        </pc:spChg>
        <pc:spChg chg="add mod">
          <ac:chgData name="Giust, Fabio (Nokia - DE/Munich)" userId="4032e17e-121c-4a4e-b875-df2f68eb573c" providerId="ADAL" clId="{0C1C67AF-CA6E-4275-A43B-BF66C55B38B8}" dt="2022-06-10T16:02:48.451" v="605" actId="1036"/>
          <ac:spMkLst>
            <pc:docMk/>
            <pc:sldMk cId="809243930" sldId="2146846881"/>
            <ac:spMk id="6" creationId="{E27FA666-4C21-4662-BFEE-7816B22DAA4D}"/>
          </ac:spMkLst>
        </pc:spChg>
        <pc:spChg chg="add mod">
          <ac:chgData name="Giust, Fabio (Nokia - DE/Munich)" userId="4032e17e-121c-4a4e-b875-df2f68eb573c" providerId="ADAL" clId="{0C1C67AF-CA6E-4275-A43B-BF66C55B38B8}" dt="2022-06-10T16:02:41.114" v="587" actId="14100"/>
          <ac:spMkLst>
            <pc:docMk/>
            <pc:sldMk cId="809243930" sldId="2146846881"/>
            <ac:spMk id="7" creationId="{252BA850-E195-4D03-9C46-4715B64A73E3}"/>
          </ac:spMkLst>
        </pc:spChg>
        <pc:spChg chg="add mod">
          <ac:chgData name="Giust, Fabio (Nokia - DE/Munich)" userId="4032e17e-121c-4a4e-b875-df2f68eb573c" providerId="ADAL" clId="{0C1C67AF-CA6E-4275-A43B-BF66C55B38B8}" dt="2022-06-10T16:08:42.046" v="688" actId="1035"/>
          <ac:spMkLst>
            <pc:docMk/>
            <pc:sldMk cId="809243930" sldId="2146846881"/>
            <ac:spMk id="8" creationId="{C8D809B3-F233-4EAB-BA05-7AC92FB85BF5}"/>
          </ac:spMkLst>
        </pc:spChg>
        <pc:spChg chg="add mod">
          <ac:chgData name="Giust, Fabio (Nokia - DE/Munich)" userId="4032e17e-121c-4a4e-b875-df2f68eb573c" providerId="ADAL" clId="{0C1C67AF-CA6E-4275-A43B-BF66C55B38B8}" dt="2022-06-10T16:03:17.405" v="621" actId="20577"/>
          <ac:spMkLst>
            <pc:docMk/>
            <pc:sldMk cId="809243930" sldId="2146846881"/>
            <ac:spMk id="9" creationId="{CDDA1375-DAEA-48D0-B5E0-64528A9068EF}"/>
          </ac:spMkLst>
        </pc:spChg>
        <pc:spChg chg="add mod">
          <ac:chgData name="Giust, Fabio (Nokia - DE/Munich)" userId="4032e17e-121c-4a4e-b875-df2f68eb573c" providerId="ADAL" clId="{0C1C67AF-CA6E-4275-A43B-BF66C55B38B8}" dt="2022-06-10T16:02:57.980" v="607" actId="1076"/>
          <ac:spMkLst>
            <pc:docMk/>
            <pc:sldMk cId="809243930" sldId="2146846881"/>
            <ac:spMk id="10" creationId="{4A1CB992-2612-43C5-9630-3AEB4CFF0A99}"/>
          </ac:spMkLst>
        </pc:spChg>
      </pc:sldChg>
    </pc:docChg>
  </pc:docChgLst>
  <pc:docChgLst>
    <pc:chgData name="Lair, Yannick (Nokia - FR/Paris-Saclay)" userId="e0601b81-de45-4b0d-b7c3-b06e9080ce2c" providerId="ADAL" clId="{AE78EB63-084E-4468-A1BE-C79DD1C7820D}"/>
    <pc:docChg chg="undo custSel addSld modSld sldOrd">
      <pc:chgData name="Lair, Yannick (Nokia - FR/Paris-Saclay)" userId="e0601b81-de45-4b0d-b7c3-b06e9080ce2c" providerId="ADAL" clId="{AE78EB63-084E-4468-A1BE-C79DD1C7820D}" dt="2020-06-23T09:21:25.500" v="1630" actId="255"/>
      <pc:docMkLst>
        <pc:docMk/>
      </pc:docMkLst>
      <pc:sldChg chg="modSp">
        <pc:chgData name="Lair, Yannick (Nokia - FR/Paris-Saclay)" userId="e0601b81-de45-4b0d-b7c3-b06e9080ce2c" providerId="ADAL" clId="{AE78EB63-084E-4468-A1BE-C79DD1C7820D}" dt="2020-06-18T10:03:43.127" v="327" actId="403"/>
        <pc:sldMkLst>
          <pc:docMk/>
          <pc:sldMk cId="3925664284" sldId="344"/>
        </pc:sldMkLst>
        <pc:spChg chg="mod">
          <ac:chgData name="Lair, Yannick (Nokia - FR/Paris-Saclay)" userId="e0601b81-de45-4b0d-b7c3-b06e9080ce2c" providerId="ADAL" clId="{AE78EB63-084E-4468-A1BE-C79DD1C7820D}" dt="2020-06-18T10:03:43.127" v="327" actId="403"/>
          <ac:spMkLst>
            <pc:docMk/>
            <pc:sldMk cId="3925664284" sldId="344"/>
            <ac:spMk id="5" creationId="{A560F786-3A6C-41F0-99EF-DFF4DE7F777C}"/>
          </ac:spMkLst>
        </pc:spChg>
      </pc:sldChg>
      <pc:sldChg chg="modSp">
        <pc:chgData name="Lair, Yannick (Nokia - FR/Paris-Saclay)" userId="e0601b81-de45-4b0d-b7c3-b06e9080ce2c" providerId="ADAL" clId="{AE78EB63-084E-4468-A1BE-C79DD1C7820D}" dt="2020-06-18T10:03:33.812" v="326" actId="403"/>
        <pc:sldMkLst>
          <pc:docMk/>
          <pc:sldMk cId="1198382535" sldId="346"/>
        </pc:sldMkLst>
        <pc:spChg chg="mod">
          <ac:chgData name="Lair, Yannick (Nokia - FR/Paris-Saclay)" userId="e0601b81-de45-4b0d-b7c3-b06e9080ce2c" providerId="ADAL" clId="{AE78EB63-084E-4468-A1BE-C79DD1C7820D}" dt="2020-06-18T10:03:33.812" v="326" actId="403"/>
          <ac:spMkLst>
            <pc:docMk/>
            <pc:sldMk cId="1198382535" sldId="346"/>
            <ac:spMk id="5" creationId="{A560F786-3A6C-41F0-99EF-DFF4DE7F777C}"/>
          </ac:spMkLst>
        </pc:spChg>
      </pc:sldChg>
      <pc:sldChg chg="addSp delSp modSp add">
        <pc:chgData name="Lair, Yannick (Nokia - FR/Paris-Saclay)" userId="e0601b81-de45-4b0d-b7c3-b06e9080ce2c" providerId="ADAL" clId="{AE78EB63-084E-4468-A1BE-C79DD1C7820D}" dt="2020-06-23T09:20:50.746" v="1626" actId="20577"/>
        <pc:sldMkLst>
          <pc:docMk/>
          <pc:sldMk cId="1114665910" sldId="354"/>
        </pc:sldMkLst>
        <pc:spChg chg="mod">
          <ac:chgData name="Lair, Yannick (Nokia - FR/Paris-Saclay)" userId="e0601b81-de45-4b0d-b7c3-b06e9080ce2c" providerId="ADAL" clId="{AE78EB63-084E-4468-A1BE-C79DD1C7820D}" dt="2020-06-18T09:35:10.107" v="65" actId="6549"/>
          <ac:spMkLst>
            <pc:docMk/>
            <pc:sldMk cId="1114665910" sldId="354"/>
            <ac:spMk id="2" creationId="{9F31353A-D41F-4CEF-B45F-7706562425B6}"/>
          </ac:spMkLst>
        </pc:spChg>
        <pc:spChg chg="mod">
          <ac:chgData name="Lair, Yannick (Nokia - FR/Paris-Saclay)" userId="e0601b81-de45-4b0d-b7c3-b06e9080ce2c" providerId="ADAL" clId="{AE78EB63-084E-4468-A1BE-C79DD1C7820D}" dt="2020-06-18T09:36:15.297" v="68" actId="20577"/>
          <ac:spMkLst>
            <pc:docMk/>
            <pc:sldMk cId="1114665910" sldId="354"/>
            <ac:spMk id="3" creationId="{79F23BEF-877A-4273-A1A7-C381CB9FFA3C}"/>
          </ac:spMkLst>
        </pc:spChg>
        <pc:spChg chg="mod">
          <ac:chgData name="Lair, Yannick (Nokia - FR/Paris-Saclay)" userId="e0601b81-de45-4b0d-b7c3-b06e9080ce2c" providerId="ADAL" clId="{AE78EB63-084E-4468-A1BE-C79DD1C7820D}" dt="2020-06-23T09:20:50.746" v="1626" actId="20577"/>
          <ac:spMkLst>
            <pc:docMk/>
            <pc:sldMk cId="1114665910" sldId="354"/>
            <ac:spMk id="4" creationId="{5C8D5078-B8D0-4095-8466-64F7613FE8A6}"/>
          </ac:spMkLst>
        </pc:spChg>
        <pc:graphicFrameChg chg="add del">
          <ac:chgData name="Lair, Yannick (Nokia - FR/Paris-Saclay)" userId="e0601b81-de45-4b0d-b7c3-b06e9080ce2c" providerId="ADAL" clId="{AE78EB63-084E-4468-A1BE-C79DD1C7820D}" dt="2020-06-18T09:35:14.430" v="66"/>
          <ac:graphicFrameMkLst>
            <pc:docMk/>
            <pc:sldMk cId="1114665910" sldId="354"/>
            <ac:graphicFrameMk id="5" creationId="{E35EA05A-AEA6-4EB0-852E-A900BBE646B9}"/>
          </ac:graphicFrameMkLst>
        </pc:graphicFrameChg>
      </pc:sldChg>
      <pc:sldChg chg="modSp add">
        <pc:chgData name="Lair, Yannick (Nokia - FR/Paris-Saclay)" userId="e0601b81-de45-4b0d-b7c3-b06e9080ce2c" providerId="ADAL" clId="{AE78EB63-084E-4468-A1BE-C79DD1C7820D}" dt="2020-06-18T10:07:10.792" v="361" actId="20577"/>
        <pc:sldMkLst>
          <pc:docMk/>
          <pc:sldMk cId="1886061748" sldId="355"/>
        </pc:sldMkLst>
        <pc:spChg chg="mod">
          <ac:chgData name="Lair, Yannick (Nokia - FR/Paris-Saclay)" userId="e0601b81-de45-4b0d-b7c3-b06e9080ce2c" providerId="ADAL" clId="{AE78EB63-084E-4468-A1BE-C79DD1C7820D}" dt="2020-06-18T09:37:57.127" v="87" actId="6549"/>
          <ac:spMkLst>
            <pc:docMk/>
            <pc:sldMk cId="1886061748" sldId="355"/>
            <ac:spMk id="2" creationId="{9F31353A-D41F-4CEF-B45F-7706562425B6}"/>
          </ac:spMkLst>
        </pc:spChg>
        <pc:spChg chg="mod">
          <ac:chgData name="Lair, Yannick (Nokia - FR/Paris-Saclay)" userId="e0601b81-de45-4b0d-b7c3-b06e9080ce2c" providerId="ADAL" clId="{AE78EB63-084E-4468-A1BE-C79DD1C7820D}" dt="2020-06-18T09:37:09.571" v="71" actId="20577"/>
          <ac:spMkLst>
            <pc:docMk/>
            <pc:sldMk cId="1886061748" sldId="355"/>
            <ac:spMk id="3" creationId="{79F23BEF-877A-4273-A1A7-C381CB9FFA3C}"/>
          </ac:spMkLst>
        </pc:spChg>
        <pc:spChg chg="mod">
          <ac:chgData name="Lair, Yannick (Nokia - FR/Paris-Saclay)" userId="e0601b81-de45-4b0d-b7c3-b06e9080ce2c" providerId="ADAL" clId="{AE78EB63-084E-4468-A1BE-C79DD1C7820D}" dt="2020-06-18T10:07:10.792" v="361" actId="20577"/>
          <ac:spMkLst>
            <pc:docMk/>
            <pc:sldMk cId="1886061748" sldId="355"/>
            <ac:spMk id="4" creationId="{5C8D5078-B8D0-4095-8466-64F7613FE8A6}"/>
          </ac:spMkLst>
        </pc:spChg>
      </pc:sldChg>
      <pc:sldChg chg="modSp add">
        <pc:chgData name="Lair, Yannick (Nokia - FR/Paris-Saclay)" userId="e0601b81-de45-4b0d-b7c3-b06e9080ce2c" providerId="ADAL" clId="{AE78EB63-084E-4468-A1BE-C79DD1C7820D}" dt="2020-06-18T10:07:13.133" v="362" actId="20577"/>
        <pc:sldMkLst>
          <pc:docMk/>
          <pc:sldMk cId="2351589727" sldId="356"/>
        </pc:sldMkLst>
        <pc:spChg chg="mod">
          <ac:chgData name="Lair, Yannick (Nokia - FR/Paris-Saclay)" userId="e0601b81-de45-4b0d-b7c3-b06e9080ce2c" providerId="ADAL" clId="{AE78EB63-084E-4468-A1BE-C79DD1C7820D}" dt="2020-06-18T09:39:31.150" v="106" actId="6549"/>
          <ac:spMkLst>
            <pc:docMk/>
            <pc:sldMk cId="2351589727" sldId="356"/>
            <ac:spMk id="2" creationId="{9F31353A-D41F-4CEF-B45F-7706562425B6}"/>
          </ac:spMkLst>
        </pc:spChg>
        <pc:spChg chg="mod">
          <ac:chgData name="Lair, Yannick (Nokia - FR/Paris-Saclay)" userId="e0601b81-de45-4b0d-b7c3-b06e9080ce2c" providerId="ADAL" clId="{AE78EB63-084E-4468-A1BE-C79DD1C7820D}" dt="2020-06-18T09:38:42.259" v="91" actId="20577"/>
          <ac:spMkLst>
            <pc:docMk/>
            <pc:sldMk cId="2351589727" sldId="356"/>
            <ac:spMk id="3" creationId="{79F23BEF-877A-4273-A1A7-C381CB9FFA3C}"/>
          </ac:spMkLst>
        </pc:spChg>
        <pc:spChg chg="mod">
          <ac:chgData name="Lair, Yannick (Nokia - FR/Paris-Saclay)" userId="e0601b81-de45-4b0d-b7c3-b06e9080ce2c" providerId="ADAL" clId="{AE78EB63-084E-4468-A1BE-C79DD1C7820D}" dt="2020-06-18T10:07:13.133" v="362" actId="20577"/>
          <ac:spMkLst>
            <pc:docMk/>
            <pc:sldMk cId="2351589727" sldId="356"/>
            <ac:spMk id="4" creationId="{5C8D5078-B8D0-4095-8466-64F7613FE8A6}"/>
          </ac:spMkLst>
        </pc:spChg>
      </pc:sldChg>
      <pc:sldChg chg="addSp delSp modSp add">
        <pc:chgData name="Lair, Yannick (Nokia - FR/Paris-Saclay)" userId="e0601b81-de45-4b0d-b7c3-b06e9080ce2c" providerId="ADAL" clId="{AE78EB63-084E-4468-A1BE-C79DD1C7820D}" dt="2020-06-18T10:07:16.137" v="363" actId="20577"/>
        <pc:sldMkLst>
          <pc:docMk/>
          <pc:sldMk cId="878378701" sldId="357"/>
        </pc:sldMkLst>
        <pc:spChg chg="mod">
          <ac:chgData name="Lair, Yannick (Nokia - FR/Paris-Saclay)" userId="e0601b81-de45-4b0d-b7c3-b06e9080ce2c" providerId="ADAL" clId="{AE78EB63-084E-4468-A1BE-C79DD1C7820D}" dt="2020-06-18T09:42:03.033" v="129" actId="6549"/>
          <ac:spMkLst>
            <pc:docMk/>
            <pc:sldMk cId="878378701" sldId="357"/>
            <ac:spMk id="2" creationId="{9F31353A-D41F-4CEF-B45F-7706562425B6}"/>
          </ac:spMkLst>
        </pc:spChg>
        <pc:spChg chg="mod">
          <ac:chgData name="Lair, Yannick (Nokia - FR/Paris-Saclay)" userId="e0601b81-de45-4b0d-b7c3-b06e9080ce2c" providerId="ADAL" clId="{AE78EB63-084E-4468-A1BE-C79DD1C7820D}" dt="2020-06-18T09:40:43.843" v="111"/>
          <ac:spMkLst>
            <pc:docMk/>
            <pc:sldMk cId="878378701" sldId="357"/>
            <ac:spMk id="3" creationId="{79F23BEF-877A-4273-A1A7-C381CB9FFA3C}"/>
          </ac:spMkLst>
        </pc:spChg>
        <pc:spChg chg="mod">
          <ac:chgData name="Lair, Yannick (Nokia - FR/Paris-Saclay)" userId="e0601b81-de45-4b0d-b7c3-b06e9080ce2c" providerId="ADAL" clId="{AE78EB63-084E-4468-A1BE-C79DD1C7820D}" dt="2020-06-18T10:07:16.137" v="363" actId="20577"/>
          <ac:spMkLst>
            <pc:docMk/>
            <pc:sldMk cId="878378701" sldId="357"/>
            <ac:spMk id="4" creationId="{5C8D5078-B8D0-4095-8466-64F7613FE8A6}"/>
          </ac:spMkLst>
        </pc:spChg>
        <pc:graphicFrameChg chg="add del modGraphic">
          <ac:chgData name="Lair, Yannick (Nokia - FR/Paris-Saclay)" userId="e0601b81-de45-4b0d-b7c3-b06e9080ce2c" providerId="ADAL" clId="{AE78EB63-084E-4468-A1BE-C79DD1C7820D}" dt="2020-06-18T09:42:08.338" v="130"/>
          <ac:graphicFrameMkLst>
            <pc:docMk/>
            <pc:sldMk cId="878378701" sldId="357"/>
            <ac:graphicFrameMk id="5" creationId="{23BC64F4-18C5-4E4C-BC5A-20440F303DC4}"/>
          </ac:graphicFrameMkLst>
        </pc:graphicFrameChg>
      </pc:sldChg>
      <pc:sldChg chg="modSp add">
        <pc:chgData name="Lair, Yannick (Nokia - FR/Paris-Saclay)" userId="e0601b81-de45-4b0d-b7c3-b06e9080ce2c" providerId="ADAL" clId="{AE78EB63-084E-4468-A1BE-C79DD1C7820D}" dt="2020-06-18T10:07:21.825" v="365" actId="20577"/>
        <pc:sldMkLst>
          <pc:docMk/>
          <pc:sldMk cId="1631388938" sldId="358"/>
        </pc:sldMkLst>
        <pc:spChg chg="mod">
          <ac:chgData name="Lair, Yannick (Nokia - FR/Paris-Saclay)" userId="e0601b81-de45-4b0d-b7c3-b06e9080ce2c" providerId="ADAL" clId="{AE78EB63-084E-4468-A1BE-C79DD1C7820D}" dt="2020-06-18T09:59:19.957" v="284" actId="6549"/>
          <ac:spMkLst>
            <pc:docMk/>
            <pc:sldMk cId="1631388938" sldId="358"/>
            <ac:spMk id="2" creationId="{9F31353A-D41F-4CEF-B45F-7706562425B6}"/>
          </ac:spMkLst>
        </pc:spChg>
        <pc:spChg chg="mod">
          <ac:chgData name="Lair, Yannick (Nokia - FR/Paris-Saclay)" userId="e0601b81-de45-4b0d-b7c3-b06e9080ce2c" providerId="ADAL" clId="{AE78EB63-084E-4468-A1BE-C79DD1C7820D}" dt="2020-06-18T09:45:24.380" v="133" actId="404"/>
          <ac:spMkLst>
            <pc:docMk/>
            <pc:sldMk cId="1631388938" sldId="358"/>
            <ac:spMk id="3" creationId="{79F23BEF-877A-4273-A1A7-C381CB9FFA3C}"/>
          </ac:spMkLst>
        </pc:spChg>
        <pc:spChg chg="mod">
          <ac:chgData name="Lair, Yannick (Nokia - FR/Paris-Saclay)" userId="e0601b81-de45-4b0d-b7c3-b06e9080ce2c" providerId="ADAL" clId="{AE78EB63-084E-4468-A1BE-C79DD1C7820D}" dt="2020-06-18T10:07:21.825" v="365" actId="20577"/>
          <ac:spMkLst>
            <pc:docMk/>
            <pc:sldMk cId="1631388938" sldId="358"/>
            <ac:spMk id="4" creationId="{5C8D5078-B8D0-4095-8466-64F7613FE8A6}"/>
          </ac:spMkLst>
        </pc:spChg>
      </pc:sldChg>
      <pc:sldChg chg="modSp add ord">
        <pc:chgData name="Lair, Yannick (Nokia - FR/Paris-Saclay)" userId="e0601b81-de45-4b0d-b7c3-b06e9080ce2c" providerId="ADAL" clId="{AE78EB63-084E-4468-A1BE-C79DD1C7820D}" dt="2020-06-18T10:07:18.689" v="364" actId="20577"/>
        <pc:sldMkLst>
          <pc:docMk/>
          <pc:sldMk cId="887653284" sldId="359"/>
        </pc:sldMkLst>
        <pc:spChg chg="mod">
          <ac:chgData name="Lair, Yannick (Nokia - FR/Paris-Saclay)" userId="e0601b81-de45-4b0d-b7c3-b06e9080ce2c" providerId="ADAL" clId="{AE78EB63-084E-4468-A1BE-C79DD1C7820D}" dt="2020-06-18T09:47:55.827" v="155" actId="6549"/>
          <ac:spMkLst>
            <pc:docMk/>
            <pc:sldMk cId="887653284" sldId="359"/>
            <ac:spMk id="2" creationId="{9F31353A-D41F-4CEF-B45F-7706562425B6}"/>
          </ac:spMkLst>
        </pc:spChg>
        <pc:spChg chg="mod">
          <ac:chgData name="Lair, Yannick (Nokia - FR/Paris-Saclay)" userId="e0601b81-de45-4b0d-b7c3-b06e9080ce2c" providerId="ADAL" clId="{AE78EB63-084E-4468-A1BE-C79DD1C7820D}" dt="2020-06-18T09:46:35.889" v="139" actId="20577"/>
          <ac:spMkLst>
            <pc:docMk/>
            <pc:sldMk cId="887653284" sldId="359"/>
            <ac:spMk id="3" creationId="{79F23BEF-877A-4273-A1A7-C381CB9FFA3C}"/>
          </ac:spMkLst>
        </pc:spChg>
        <pc:spChg chg="mod">
          <ac:chgData name="Lair, Yannick (Nokia - FR/Paris-Saclay)" userId="e0601b81-de45-4b0d-b7c3-b06e9080ce2c" providerId="ADAL" clId="{AE78EB63-084E-4468-A1BE-C79DD1C7820D}" dt="2020-06-18T10:07:18.689" v="364" actId="20577"/>
          <ac:spMkLst>
            <pc:docMk/>
            <pc:sldMk cId="887653284" sldId="359"/>
            <ac:spMk id="4" creationId="{5C8D5078-B8D0-4095-8466-64F7613FE8A6}"/>
          </ac:spMkLst>
        </pc:spChg>
      </pc:sldChg>
      <pc:sldChg chg="addSp delSp modSp add">
        <pc:chgData name="Lair, Yannick (Nokia - FR/Paris-Saclay)" userId="e0601b81-de45-4b0d-b7c3-b06e9080ce2c" providerId="ADAL" clId="{AE78EB63-084E-4468-A1BE-C79DD1C7820D}" dt="2020-06-18T10:07:24.030" v="366" actId="20577"/>
        <pc:sldMkLst>
          <pc:docMk/>
          <pc:sldMk cId="2153956218" sldId="360"/>
        </pc:sldMkLst>
        <pc:spChg chg="mod">
          <ac:chgData name="Lair, Yannick (Nokia - FR/Paris-Saclay)" userId="e0601b81-de45-4b0d-b7c3-b06e9080ce2c" providerId="ADAL" clId="{AE78EB63-084E-4468-A1BE-C79DD1C7820D}" dt="2020-06-18T09:49:38.450" v="188" actId="6549"/>
          <ac:spMkLst>
            <pc:docMk/>
            <pc:sldMk cId="2153956218" sldId="360"/>
            <ac:spMk id="2" creationId="{9F31353A-D41F-4CEF-B45F-7706562425B6}"/>
          </ac:spMkLst>
        </pc:spChg>
        <pc:spChg chg="mod">
          <ac:chgData name="Lair, Yannick (Nokia - FR/Paris-Saclay)" userId="e0601b81-de45-4b0d-b7c3-b06e9080ce2c" providerId="ADAL" clId="{AE78EB63-084E-4468-A1BE-C79DD1C7820D}" dt="2020-06-18T09:48:40.997" v="170" actId="20577"/>
          <ac:spMkLst>
            <pc:docMk/>
            <pc:sldMk cId="2153956218" sldId="360"/>
            <ac:spMk id="3" creationId="{79F23BEF-877A-4273-A1A7-C381CB9FFA3C}"/>
          </ac:spMkLst>
        </pc:spChg>
        <pc:spChg chg="mod">
          <ac:chgData name="Lair, Yannick (Nokia - FR/Paris-Saclay)" userId="e0601b81-de45-4b0d-b7c3-b06e9080ce2c" providerId="ADAL" clId="{AE78EB63-084E-4468-A1BE-C79DD1C7820D}" dt="2020-06-18T10:07:24.030" v="366" actId="20577"/>
          <ac:spMkLst>
            <pc:docMk/>
            <pc:sldMk cId="2153956218" sldId="360"/>
            <ac:spMk id="4" creationId="{5C8D5078-B8D0-4095-8466-64F7613FE8A6}"/>
          </ac:spMkLst>
        </pc:spChg>
        <pc:graphicFrameChg chg="add del">
          <ac:chgData name="Lair, Yannick (Nokia - FR/Paris-Saclay)" userId="e0601b81-de45-4b0d-b7c3-b06e9080ce2c" providerId="ADAL" clId="{AE78EB63-084E-4468-A1BE-C79DD1C7820D}" dt="2020-06-18T09:49:45.234" v="189"/>
          <ac:graphicFrameMkLst>
            <pc:docMk/>
            <pc:sldMk cId="2153956218" sldId="360"/>
            <ac:graphicFrameMk id="5" creationId="{C96B943F-5228-4D6F-8680-10BC6C7CED29}"/>
          </ac:graphicFrameMkLst>
        </pc:graphicFrameChg>
      </pc:sldChg>
      <pc:sldChg chg="addSp delSp modSp add">
        <pc:chgData name="Lair, Yannick (Nokia - FR/Paris-Saclay)" userId="e0601b81-de45-4b0d-b7c3-b06e9080ce2c" providerId="ADAL" clId="{AE78EB63-084E-4468-A1BE-C79DD1C7820D}" dt="2020-06-18T10:07:26.532" v="367" actId="20577"/>
        <pc:sldMkLst>
          <pc:docMk/>
          <pc:sldMk cId="2654578793" sldId="361"/>
        </pc:sldMkLst>
        <pc:spChg chg="mod">
          <ac:chgData name="Lair, Yannick (Nokia - FR/Paris-Saclay)" userId="e0601b81-de45-4b0d-b7c3-b06e9080ce2c" providerId="ADAL" clId="{AE78EB63-084E-4468-A1BE-C79DD1C7820D}" dt="2020-06-18T09:54:09.931" v="231" actId="6549"/>
          <ac:spMkLst>
            <pc:docMk/>
            <pc:sldMk cId="2654578793" sldId="361"/>
            <ac:spMk id="2" creationId="{9F31353A-D41F-4CEF-B45F-7706562425B6}"/>
          </ac:spMkLst>
        </pc:spChg>
        <pc:spChg chg="mod">
          <ac:chgData name="Lair, Yannick (Nokia - FR/Paris-Saclay)" userId="e0601b81-de45-4b0d-b7c3-b06e9080ce2c" providerId="ADAL" clId="{AE78EB63-084E-4468-A1BE-C79DD1C7820D}" dt="2020-06-18T09:53:39.585" v="215" actId="20577"/>
          <ac:spMkLst>
            <pc:docMk/>
            <pc:sldMk cId="2654578793" sldId="361"/>
            <ac:spMk id="3" creationId="{79F23BEF-877A-4273-A1A7-C381CB9FFA3C}"/>
          </ac:spMkLst>
        </pc:spChg>
        <pc:spChg chg="mod">
          <ac:chgData name="Lair, Yannick (Nokia - FR/Paris-Saclay)" userId="e0601b81-de45-4b0d-b7c3-b06e9080ce2c" providerId="ADAL" clId="{AE78EB63-084E-4468-A1BE-C79DD1C7820D}" dt="2020-06-18T10:07:26.532" v="367" actId="20577"/>
          <ac:spMkLst>
            <pc:docMk/>
            <pc:sldMk cId="2654578793" sldId="361"/>
            <ac:spMk id="4" creationId="{5C8D5078-B8D0-4095-8466-64F7613FE8A6}"/>
          </ac:spMkLst>
        </pc:spChg>
        <pc:graphicFrameChg chg="add del">
          <ac:chgData name="Lair, Yannick (Nokia - FR/Paris-Saclay)" userId="e0601b81-de45-4b0d-b7c3-b06e9080ce2c" providerId="ADAL" clId="{AE78EB63-084E-4468-A1BE-C79DD1C7820D}" dt="2020-06-18T09:54:13.354" v="232"/>
          <ac:graphicFrameMkLst>
            <pc:docMk/>
            <pc:sldMk cId="2654578793" sldId="361"/>
            <ac:graphicFrameMk id="5" creationId="{746F9B50-B7C3-4BF8-A2B5-C17FE020544F}"/>
          </ac:graphicFrameMkLst>
        </pc:graphicFrameChg>
      </pc:sldChg>
      <pc:sldChg chg="addSp delSp modSp add">
        <pc:chgData name="Lair, Yannick (Nokia - FR/Paris-Saclay)" userId="e0601b81-de45-4b0d-b7c3-b06e9080ce2c" providerId="ADAL" clId="{AE78EB63-084E-4468-A1BE-C79DD1C7820D}" dt="2020-06-18T10:07:30.137" v="368" actId="20577"/>
        <pc:sldMkLst>
          <pc:docMk/>
          <pc:sldMk cId="2662867801" sldId="362"/>
        </pc:sldMkLst>
        <pc:spChg chg="mod">
          <ac:chgData name="Lair, Yannick (Nokia - FR/Paris-Saclay)" userId="e0601b81-de45-4b0d-b7c3-b06e9080ce2c" providerId="ADAL" clId="{AE78EB63-084E-4468-A1BE-C79DD1C7820D}" dt="2020-06-18T09:55:10.827" v="250" actId="6549"/>
          <ac:spMkLst>
            <pc:docMk/>
            <pc:sldMk cId="2662867801" sldId="362"/>
            <ac:spMk id="2" creationId="{9F31353A-D41F-4CEF-B45F-7706562425B6}"/>
          </ac:spMkLst>
        </pc:spChg>
        <pc:spChg chg="mod">
          <ac:chgData name="Lair, Yannick (Nokia - FR/Paris-Saclay)" userId="e0601b81-de45-4b0d-b7c3-b06e9080ce2c" providerId="ADAL" clId="{AE78EB63-084E-4468-A1BE-C79DD1C7820D}" dt="2020-06-18T09:54:18.100" v="234" actId="20577"/>
          <ac:spMkLst>
            <pc:docMk/>
            <pc:sldMk cId="2662867801" sldId="362"/>
            <ac:spMk id="3" creationId="{79F23BEF-877A-4273-A1A7-C381CB9FFA3C}"/>
          </ac:spMkLst>
        </pc:spChg>
        <pc:spChg chg="mod">
          <ac:chgData name="Lair, Yannick (Nokia - FR/Paris-Saclay)" userId="e0601b81-de45-4b0d-b7c3-b06e9080ce2c" providerId="ADAL" clId="{AE78EB63-084E-4468-A1BE-C79DD1C7820D}" dt="2020-06-18T10:07:30.137" v="368" actId="20577"/>
          <ac:spMkLst>
            <pc:docMk/>
            <pc:sldMk cId="2662867801" sldId="362"/>
            <ac:spMk id="4" creationId="{5C8D5078-B8D0-4095-8466-64F7613FE8A6}"/>
          </ac:spMkLst>
        </pc:spChg>
        <pc:graphicFrameChg chg="add del">
          <ac:chgData name="Lair, Yannick (Nokia - FR/Paris-Saclay)" userId="e0601b81-de45-4b0d-b7c3-b06e9080ce2c" providerId="ADAL" clId="{AE78EB63-084E-4468-A1BE-C79DD1C7820D}" dt="2020-06-18T09:55:14.365" v="251"/>
          <ac:graphicFrameMkLst>
            <pc:docMk/>
            <pc:sldMk cId="2662867801" sldId="362"/>
            <ac:graphicFrameMk id="5" creationId="{2FB25D6C-F418-428E-ADAB-4AEB3DEF87F3}"/>
          </ac:graphicFrameMkLst>
        </pc:graphicFrameChg>
      </pc:sldChg>
      <pc:sldChg chg="addSp delSp modSp add">
        <pc:chgData name="Lair, Yannick (Nokia - FR/Paris-Saclay)" userId="e0601b81-de45-4b0d-b7c3-b06e9080ce2c" providerId="ADAL" clId="{AE78EB63-084E-4468-A1BE-C79DD1C7820D}" dt="2020-06-18T10:07:32.045" v="369" actId="20577"/>
        <pc:sldMkLst>
          <pc:docMk/>
          <pc:sldMk cId="4096749430" sldId="363"/>
        </pc:sldMkLst>
        <pc:spChg chg="mod">
          <ac:chgData name="Lair, Yannick (Nokia - FR/Paris-Saclay)" userId="e0601b81-de45-4b0d-b7c3-b06e9080ce2c" providerId="ADAL" clId="{AE78EB63-084E-4468-A1BE-C79DD1C7820D}" dt="2020-06-18T09:57:05.501" v="269" actId="6549"/>
          <ac:spMkLst>
            <pc:docMk/>
            <pc:sldMk cId="4096749430" sldId="363"/>
            <ac:spMk id="2" creationId="{9F31353A-D41F-4CEF-B45F-7706562425B6}"/>
          </ac:spMkLst>
        </pc:spChg>
        <pc:spChg chg="mod">
          <ac:chgData name="Lair, Yannick (Nokia - FR/Paris-Saclay)" userId="e0601b81-de45-4b0d-b7c3-b06e9080ce2c" providerId="ADAL" clId="{AE78EB63-084E-4468-A1BE-C79DD1C7820D}" dt="2020-06-18T09:55:22.497" v="253" actId="20577"/>
          <ac:spMkLst>
            <pc:docMk/>
            <pc:sldMk cId="4096749430" sldId="363"/>
            <ac:spMk id="3" creationId="{79F23BEF-877A-4273-A1A7-C381CB9FFA3C}"/>
          </ac:spMkLst>
        </pc:spChg>
        <pc:spChg chg="mod">
          <ac:chgData name="Lair, Yannick (Nokia - FR/Paris-Saclay)" userId="e0601b81-de45-4b0d-b7c3-b06e9080ce2c" providerId="ADAL" clId="{AE78EB63-084E-4468-A1BE-C79DD1C7820D}" dt="2020-06-18T10:07:32.045" v="369" actId="20577"/>
          <ac:spMkLst>
            <pc:docMk/>
            <pc:sldMk cId="4096749430" sldId="363"/>
            <ac:spMk id="4" creationId="{5C8D5078-B8D0-4095-8466-64F7613FE8A6}"/>
          </ac:spMkLst>
        </pc:spChg>
        <pc:graphicFrameChg chg="add del">
          <ac:chgData name="Lair, Yannick (Nokia - FR/Paris-Saclay)" userId="e0601b81-de45-4b0d-b7c3-b06e9080ce2c" providerId="ADAL" clId="{AE78EB63-084E-4468-A1BE-C79DD1C7820D}" dt="2020-06-18T09:57:10.610" v="270"/>
          <ac:graphicFrameMkLst>
            <pc:docMk/>
            <pc:sldMk cId="4096749430" sldId="363"/>
            <ac:graphicFrameMk id="5" creationId="{5A373D24-E2EB-4DE5-80EC-1F6A4492A5A5}"/>
          </ac:graphicFrameMkLst>
        </pc:graphicFrameChg>
      </pc:sldChg>
      <pc:sldChg chg="modSp add">
        <pc:chgData name="Lair, Yannick (Nokia - FR/Paris-Saclay)" userId="e0601b81-de45-4b0d-b7c3-b06e9080ce2c" providerId="ADAL" clId="{AE78EB63-084E-4468-A1BE-C79DD1C7820D}" dt="2020-06-23T09:18:31.342" v="1549" actId="255"/>
        <pc:sldMkLst>
          <pc:docMk/>
          <pc:sldMk cId="4251373573" sldId="364"/>
        </pc:sldMkLst>
        <pc:spChg chg="mod">
          <ac:chgData name="Lair, Yannick (Nokia - FR/Paris-Saclay)" userId="e0601b81-de45-4b0d-b7c3-b06e9080ce2c" providerId="ADAL" clId="{AE78EB63-084E-4468-A1BE-C79DD1C7820D}" dt="2020-06-23T09:18:31.342" v="1549" actId="255"/>
          <ac:spMkLst>
            <pc:docMk/>
            <pc:sldMk cId="4251373573" sldId="364"/>
            <ac:spMk id="4" creationId="{5C8D5078-B8D0-4095-8466-64F7613FE8A6}"/>
          </ac:spMkLst>
        </pc:spChg>
      </pc:sldChg>
      <pc:sldChg chg="addSp modSp">
        <pc:chgData name="Lair, Yannick (Nokia - FR/Paris-Saclay)" userId="e0601b81-de45-4b0d-b7c3-b06e9080ce2c" providerId="ADAL" clId="{AE78EB63-084E-4468-A1BE-C79DD1C7820D}" dt="2020-06-23T09:21:25.500" v="1630" actId="255"/>
        <pc:sldMkLst>
          <pc:docMk/>
          <pc:sldMk cId="667601062" sldId="386"/>
        </pc:sldMkLst>
        <pc:spChg chg="mod">
          <ac:chgData name="Lair, Yannick (Nokia - FR/Paris-Saclay)" userId="e0601b81-de45-4b0d-b7c3-b06e9080ce2c" providerId="ADAL" clId="{AE78EB63-084E-4468-A1BE-C79DD1C7820D}" dt="2020-06-23T09:21:25.500" v="1630" actId="255"/>
          <ac:spMkLst>
            <pc:docMk/>
            <pc:sldMk cId="667601062" sldId="386"/>
            <ac:spMk id="4" creationId="{5C8D5078-B8D0-4095-8466-64F7613FE8A6}"/>
          </ac:spMkLst>
        </pc:spChg>
        <pc:spChg chg="add mod">
          <ac:chgData name="Lair, Yannick (Nokia - FR/Paris-Saclay)" userId="e0601b81-de45-4b0d-b7c3-b06e9080ce2c" providerId="ADAL" clId="{AE78EB63-084E-4468-A1BE-C79DD1C7820D}" dt="2020-06-23T09:04:03.501" v="974" actId="1076"/>
          <ac:spMkLst>
            <pc:docMk/>
            <pc:sldMk cId="667601062" sldId="386"/>
            <ac:spMk id="5" creationId="{9132B209-1079-431B-9EC5-D91799449FAF}"/>
          </ac:spMkLst>
        </pc:spChg>
        <pc:graphicFrameChg chg="add mod">
          <ac:chgData name="Lair, Yannick (Nokia - FR/Paris-Saclay)" userId="e0601b81-de45-4b0d-b7c3-b06e9080ce2c" providerId="ADAL" clId="{AE78EB63-084E-4468-A1BE-C79DD1C7820D}" dt="2020-06-23T09:16:53.914" v="1512" actId="1035"/>
          <ac:graphicFrameMkLst>
            <pc:docMk/>
            <pc:sldMk cId="667601062" sldId="386"/>
            <ac:graphicFrameMk id="6" creationId="{A675147D-2088-4415-9241-C5A02F365FDB}"/>
          </ac:graphicFrameMkLst>
        </pc:graphicFrameChg>
      </pc:sldChg>
    </pc:docChg>
  </pc:docChgLst>
  <pc:docChgLst>
    <pc:chgData name="Rainer Liebhart (Nokia)" userId="9d27e965-bed7-441e-8c07-02c758a9258d" providerId="ADAL" clId="{1AD5FA1C-EB7A-430E-AD98-E73D87AA3A7C}"/>
    <pc:docChg chg="custSel modSld">
      <pc:chgData name="Rainer Liebhart (Nokia)" userId="9d27e965-bed7-441e-8c07-02c758a9258d" providerId="ADAL" clId="{1AD5FA1C-EB7A-430E-AD98-E73D87AA3A7C}" dt="2022-12-05T17:01:11.204" v="57" actId="6549"/>
      <pc:docMkLst>
        <pc:docMk/>
      </pc:docMkLst>
      <pc:sldChg chg="modSp mod">
        <pc:chgData name="Rainer Liebhart (Nokia)" userId="9d27e965-bed7-441e-8c07-02c758a9258d" providerId="ADAL" clId="{1AD5FA1C-EB7A-430E-AD98-E73D87AA3A7C}" dt="2022-12-05T17:01:11.204" v="57" actId="6549"/>
        <pc:sldMkLst>
          <pc:docMk/>
          <pc:sldMk cId="2491540145" sldId="2146846976"/>
        </pc:sldMkLst>
        <pc:spChg chg="mod">
          <ac:chgData name="Rainer Liebhart (Nokia)" userId="9d27e965-bed7-441e-8c07-02c758a9258d" providerId="ADAL" clId="{1AD5FA1C-EB7A-430E-AD98-E73D87AA3A7C}" dt="2022-12-05T17:01:11.204" v="57" actId="6549"/>
          <ac:spMkLst>
            <pc:docMk/>
            <pc:sldMk cId="2491540145" sldId="2146846976"/>
            <ac:spMk id="6" creationId="{2E20DBE3-132B-4E49-9B12-D7A9DE1B1D38}"/>
          </ac:spMkLst>
        </pc:spChg>
      </pc:sldChg>
    </pc:docChg>
  </pc:docChgLst>
  <pc:docChgLst>
    <pc:chgData name="Belling, Thomas (Nokia - DE/Munich)" userId="38e53bf5-7a59-41ec-8bf1-bf611b810166" providerId="ADAL" clId="{E53450BC-B54C-4EAF-A049-BF3A26A7BB2B}"/>
    <pc:docChg chg="undo custSel addSld delSld modSld sldOrd">
      <pc:chgData name="Belling, Thomas (Nokia - DE/Munich)" userId="38e53bf5-7a59-41ec-8bf1-bf611b810166" providerId="ADAL" clId="{E53450BC-B54C-4EAF-A049-BF3A26A7BB2B}" dt="2021-04-27T12:02:20.153" v="681" actId="20577"/>
      <pc:docMkLst>
        <pc:docMk/>
      </pc:docMkLst>
      <pc:sldChg chg="modSp mod">
        <pc:chgData name="Belling, Thomas (Nokia - DE/Munich)" userId="38e53bf5-7a59-41ec-8bf1-bf611b810166" providerId="ADAL" clId="{E53450BC-B54C-4EAF-A049-BF3A26A7BB2B}" dt="2021-04-20T18:18:57.410" v="1" actId="20577"/>
        <pc:sldMkLst>
          <pc:docMk/>
          <pc:sldMk cId="2165169509" sldId="258"/>
        </pc:sldMkLst>
        <pc:spChg chg="mod">
          <ac:chgData name="Belling, Thomas (Nokia - DE/Munich)" userId="38e53bf5-7a59-41ec-8bf1-bf611b810166" providerId="ADAL" clId="{E53450BC-B54C-4EAF-A049-BF3A26A7BB2B}" dt="2021-04-20T18:18:57.410" v="1" actId="20577"/>
          <ac:spMkLst>
            <pc:docMk/>
            <pc:sldMk cId="2165169509" sldId="258"/>
            <ac:spMk id="2" creationId="{673AE4A4-F521-4B46-BB77-BDFFF6278B02}"/>
          </ac:spMkLst>
        </pc:spChg>
      </pc:sldChg>
      <pc:sldChg chg="modSp mod">
        <pc:chgData name="Belling, Thomas (Nokia - DE/Munich)" userId="38e53bf5-7a59-41ec-8bf1-bf611b810166" providerId="ADAL" clId="{E53450BC-B54C-4EAF-A049-BF3A26A7BB2B}" dt="2021-04-21T00:08:56.731" v="515" actId="790"/>
        <pc:sldMkLst>
          <pc:docMk/>
          <pc:sldMk cId="1124374886" sldId="302"/>
        </pc:sldMkLst>
        <pc:spChg chg="mod">
          <ac:chgData name="Belling, Thomas (Nokia - DE/Munich)" userId="38e53bf5-7a59-41ec-8bf1-bf611b810166" providerId="ADAL" clId="{E53450BC-B54C-4EAF-A049-BF3A26A7BB2B}" dt="2021-04-21T00:08:56.731" v="515" actId="790"/>
          <ac:spMkLst>
            <pc:docMk/>
            <pc:sldMk cId="1124374886" sldId="302"/>
            <ac:spMk id="5" creationId="{A560F786-3A6C-41F0-99EF-DFF4DE7F777C}"/>
          </ac:spMkLst>
        </pc:spChg>
      </pc:sldChg>
      <pc:sldChg chg="modSp del mod">
        <pc:chgData name="Belling, Thomas (Nokia - DE/Munich)" userId="38e53bf5-7a59-41ec-8bf1-bf611b810166" providerId="ADAL" clId="{E53450BC-B54C-4EAF-A049-BF3A26A7BB2B}" dt="2021-04-20T23:57:13.240" v="168" actId="47"/>
        <pc:sldMkLst>
          <pc:docMk/>
          <pc:sldMk cId="4198231589" sldId="2134805397"/>
        </pc:sldMkLst>
        <pc:spChg chg="mod">
          <ac:chgData name="Belling, Thomas (Nokia - DE/Munich)" userId="38e53bf5-7a59-41ec-8bf1-bf611b810166" providerId="ADAL" clId="{E53450BC-B54C-4EAF-A049-BF3A26A7BB2B}" dt="2021-04-20T23:56:01.357" v="151" actId="20577"/>
          <ac:spMkLst>
            <pc:docMk/>
            <pc:sldMk cId="4198231589" sldId="2134805397"/>
            <ac:spMk id="2" creationId="{9F31353A-D41F-4CEF-B45F-7706562425B6}"/>
          </ac:spMkLst>
        </pc:spChg>
      </pc:sldChg>
      <pc:sldChg chg="addSp delSp modSp del mod">
        <pc:chgData name="Belling, Thomas (Nokia - DE/Munich)" userId="38e53bf5-7a59-41ec-8bf1-bf611b810166" providerId="ADAL" clId="{E53450BC-B54C-4EAF-A049-BF3A26A7BB2B}" dt="2021-04-21T15:49:30.300" v="539" actId="1076"/>
        <pc:sldMkLst>
          <pc:docMk/>
          <pc:sldMk cId="3496505981" sldId="2134805398"/>
        </pc:sldMkLst>
        <pc:spChg chg="del">
          <ac:chgData name="Belling, Thomas (Nokia - DE/Munich)" userId="38e53bf5-7a59-41ec-8bf1-bf611b810166" providerId="ADAL" clId="{E53450BC-B54C-4EAF-A049-BF3A26A7BB2B}" dt="2021-04-21T15:48:10.418" v="516" actId="478"/>
          <ac:spMkLst>
            <pc:docMk/>
            <pc:sldMk cId="3496505981" sldId="2134805398"/>
            <ac:spMk id="3" creationId="{79F23BEF-877A-4273-A1A7-C381CB9FFA3C}"/>
          </ac:spMkLst>
        </pc:spChg>
        <pc:spChg chg="add del mod">
          <ac:chgData name="Belling, Thomas (Nokia - DE/Munich)" userId="38e53bf5-7a59-41ec-8bf1-bf611b810166" providerId="ADAL" clId="{E53450BC-B54C-4EAF-A049-BF3A26A7BB2B}" dt="2021-04-21T15:48:17.887" v="517" actId="478"/>
          <ac:spMkLst>
            <pc:docMk/>
            <pc:sldMk cId="3496505981" sldId="2134805398"/>
            <ac:spMk id="6" creationId="{2A524A60-3001-4BD5-8743-272EA723ED94}"/>
          </ac:spMkLst>
        </pc:spChg>
        <pc:spChg chg="del">
          <ac:chgData name="Belling, Thomas (Nokia - DE/Munich)" userId="38e53bf5-7a59-41ec-8bf1-bf611b810166" providerId="ADAL" clId="{E53450BC-B54C-4EAF-A049-BF3A26A7BB2B}" dt="2021-04-21T15:48:27.033" v="518" actId="478"/>
          <ac:spMkLst>
            <pc:docMk/>
            <pc:sldMk cId="3496505981" sldId="2134805398"/>
            <ac:spMk id="10" creationId="{3B49DA79-3408-42F8-9485-4473F475C4C1}"/>
          </ac:spMkLst>
        </pc:spChg>
        <pc:spChg chg="mod">
          <ac:chgData name="Belling, Thomas (Nokia - DE/Munich)" userId="38e53bf5-7a59-41ec-8bf1-bf611b810166" providerId="ADAL" clId="{E53450BC-B54C-4EAF-A049-BF3A26A7BB2B}" dt="2021-04-21T15:48:59.707" v="536" actId="403"/>
          <ac:spMkLst>
            <pc:docMk/>
            <pc:sldMk cId="3496505981" sldId="2134805398"/>
            <ac:spMk id="11" creationId="{4BB08A6D-1FF3-4F4D-95DA-F6A7355693A2}"/>
          </ac:spMkLst>
        </pc:spChg>
        <pc:spChg chg="mod">
          <ac:chgData name="Belling, Thomas (Nokia - DE/Munich)" userId="38e53bf5-7a59-41ec-8bf1-bf611b810166" providerId="ADAL" clId="{E53450BC-B54C-4EAF-A049-BF3A26A7BB2B}" dt="2021-04-21T15:49:18.840" v="538" actId="14100"/>
          <ac:spMkLst>
            <pc:docMk/>
            <pc:sldMk cId="3496505981" sldId="2134805398"/>
            <ac:spMk id="12" creationId="{0C83C813-A742-4A7B-AC1D-D2A8D749D31F}"/>
          </ac:spMkLst>
        </pc:spChg>
        <pc:spChg chg="add del mod">
          <ac:chgData name="Belling, Thomas (Nokia - DE/Munich)" userId="38e53bf5-7a59-41ec-8bf1-bf611b810166" providerId="ADAL" clId="{E53450BC-B54C-4EAF-A049-BF3A26A7BB2B}" dt="2021-04-21T15:48:30.524" v="519" actId="478"/>
          <ac:spMkLst>
            <pc:docMk/>
            <pc:sldMk cId="3496505981" sldId="2134805398"/>
            <ac:spMk id="13" creationId="{1EC1EE27-7076-46AE-9948-5065200BFEB7}"/>
          </ac:spMkLst>
        </pc:spChg>
        <pc:spChg chg="add mod">
          <ac:chgData name="Belling, Thomas (Nokia - DE/Munich)" userId="38e53bf5-7a59-41ec-8bf1-bf611b810166" providerId="ADAL" clId="{E53450BC-B54C-4EAF-A049-BF3A26A7BB2B}" dt="2021-04-21T15:48:32.245" v="520"/>
          <ac:spMkLst>
            <pc:docMk/>
            <pc:sldMk cId="3496505981" sldId="2134805398"/>
            <ac:spMk id="14" creationId="{8602CCCC-B393-486F-B364-41AD169A33B9}"/>
          </ac:spMkLst>
        </pc:spChg>
        <pc:spChg chg="add mod">
          <ac:chgData name="Belling, Thomas (Nokia - DE/Munich)" userId="38e53bf5-7a59-41ec-8bf1-bf611b810166" providerId="ADAL" clId="{E53450BC-B54C-4EAF-A049-BF3A26A7BB2B}" dt="2021-04-21T15:48:32.245" v="520"/>
          <ac:spMkLst>
            <pc:docMk/>
            <pc:sldMk cId="3496505981" sldId="2134805398"/>
            <ac:spMk id="15" creationId="{D428DE7C-1963-4567-8B30-69EB28882C8B}"/>
          </ac:spMkLst>
        </pc:spChg>
        <pc:graphicFrameChg chg="mod">
          <ac:chgData name="Belling, Thomas (Nokia - DE/Munich)" userId="38e53bf5-7a59-41ec-8bf1-bf611b810166" providerId="ADAL" clId="{E53450BC-B54C-4EAF-A049-BF3A26A7BB2B}" dt="2021-04-21T15:49:30.300" v="539" actId="1076"/>
          <ac:graphicFrameMkLst>
            <pc:docMk/>
            <pc:sldMk cId="3496505981" sldId="2134805398"/>
            <ac:graphicFrameMk id="4" creationId="{5ED93410-E8F6-44E1-AE50-9B0E7DC3129B}"/>
          </ac:graphicFrameMkLst>
        </pc:graphicFrameChg>
      </pc:sldChg>
      <pc:sldChg chg="modSp mod">
        <pc:chgData name="Belling, Thomas (Nokia - DE/Munich)" userId="38e53bf5-7a59-41ec-8bf1-bf611b810166" providerId="ADAL" clId="{E53450BC-B54C-4EAF-A049-BF3A26A7BB2B}" dt="2021-04-27T12:02:20.153" v="681" actId="20577"/>
        <pc:sldMkLst>
          <pc:docMk/>
          <pc:sldMk cId="1472701805" sldId="2134805428"/>
        </pc:sldMkLst>
        <pc:spChg chg="mod">
          <ac:chgData name="Belling, Thomas (Nokia - DE/Munich)" userId="38e53bf5-7a59-41ec-8bf1-bf611b810166" providerId="ADAL" clId="{E53450BC-B54C-4EAF-A049-BF3A26A7BB2B}" dt="2021-04-27T12:02:20.153" v="681" actId="20577"/>
          <ac:spMkLst>
            <pc:docMk/>
            <pc:sldMk cId="1472701805" sldId="2134805428"/>
            <ac:spMk id="4" creationId="{F46F5340-F269-4BBA-AE17-43A4BB488557}"/>
          </ac:spMkLst>
        </pc:spChg>
      </pc:sldChg>
      <pc:sldChg chg="modSp add del mod ord">
        <pc:chgData name="Belling, Thomas (Nokia - DE/Munich)" userId="38e53bf5-7a59-41ec-8bf1-bf611b810166" providerId="ADAL" clId="{E53450BC-B54C-4EAF-A049-BF3A26A7BB2B}" dt="2021-04-20T23:59:34.970" v="267" actId="47"/>
        <pc:sldMkLst>
          <pc:docMk/>
          <pc:sldMk cId="1675849784" sldId="2134805429"/>
        </pc:sldMkLst>
        <pc:spChg chg="mod">
          <ac:chgData name="Belling, Thomas (Nokia - DE/Munich)" userId="38e53bf5-7a59-41ec-8bf1-bf611b810166" providerId="ADAL" clId="{E53450BC-B54C-4EAF-A049-BF3A26A7BB2B}" dt="2021-04-20T23:47:59.472" v="84" actId="113"/>
          <ac:spMkLst>
            <pc:docMk/>
            <pc:sldMk cId="1675849784" sldId="2134805429"/>
            <ac:spMk id="4" creationId="{F46F5340-F269-4BBA-AE17-43A4BB488557}"/>
          </ac:spMkLst>
        </pc:spChg>
      </pc:sldChg>
      <pc:sldChg chg="modSp add del mod">
        <pc:chgData name="Belling, Thomas (Nokia - DE/Munich)" userId="38e53bf5-7a59-41ec-8bf1-bf611b810166" providerId="ADAL" clId="{E53450BC-B54C-4EAF-A049-BF3A26A7BB2B}" dt="2021-04-20T23:59:34.970" v="267" actId="47"/>
        <pc:sldMkLst>
          <pc:docMk/>
          <pc:sldMk cId="130312749" sldId="2134805430"/>
        </pc:sldMkLst>
        <pc:spChg chg="mod">
          <ac:chgData name="Belling, Thomas (Nokia - DE/Munich)" userId="38e53bf5-7a59-41ec-8bf1-bf611b810166" providerId="ADAL" clId="{E53450BC-B54C-4EAF-A049-BF3A26A7BB2B}" dt="2021-04-20T23:49:58.599" v="131" actId="27636"/>
          <ac:spMkLst>
            <pc:docMk/>
            <pc:sldMk cId="130312749" sldId="2134805430"/>
            <ac:spMk id="4" creationId="{F46F5340-F269-4BBA-AE17-43A4BB488557}"/>
          </ac:spMkLst>
        </pc:spChg>
      </pc:sldChg>
      <pc:sldChg chg="add del">
        <pc:chgData name="Belling, Thomas (Nokia - DE/Munich)" userId="38e53bf5-7a59-41ec-8bf1-bf611b810166" providerId="ADAL" clId="{E53450BC-B54C-4EAF-A049-BF3A26A7BB2B}" dt="2021-04-20T23:49:11.934" v="128" actId="47"/>
        <pc:sldMkLst>
          <pc:docMk/>
          <pc:sldMk cId="882732618" sldId="2134805431"/>
        </pc:sldMkLst>
      </pc:sldChg>
      <pc:sldChg chg="add del">
        <pc:chgData name="Belling, Thomas (Nokia - DE/Munich)" userId="38e53bf5-7a59-41ec-8bf1-bf611b810166" providerId="ADAL" clId="{E53450BC-B54C-4EAF-A049-BF3A26A7BB2B}" dt="2021-04-20T23:49:11.934" v="128" actId="47"/>
        <pc:sldMkLst>
          <pc:docMk/>
          <pc:sldMk cId="4007161102" sldId="2134805432"/>
        </pc:sldMkLst>
      </pc:sldChg>
      <pc:sldChg chg="add del">
        <pc:chgData name="Belling, Thomas (Nokia - DE/Munich)" userId="38e53bf5-7a59-41ec-8bf1-bf611b810166" providerId="ADAL" clId="{E53450BC-B54C-4EAF-A049-BF3A26A7BB2B}" dt="2021-04-20T23:49:11.934" v="128" actId="47"/>
        <pc:sldMkLst>
          <pc:docMk/>
          <pc:sldMk cId="2866135598" sldId="2134805433"/>
        </pc:sldMkLst>
      </pc:sldChg>
      <pc:sldChg chg="add del">
        <pc:chgData name="Belling, Thomas (Nokia - DE/Munich)" userId="38e53bf5-7a59-41ec-8bf1-bf611b810166" providerId="ADAL" clId="{E53450BC-B54C-4EAF-A049-BF3A26A7BB2B}" dt="2021-04-20T23:49:11.934" v="128" actId="47"/>
        <pc:sldMkLst>
          <pc:docMk/>
          <pc:sldMk cId="1344083205" sldId="2134805434"/>
        </pc:sldMkLst>
      </pc:sldChg>
      <pc:sldChg chg="modSp add del mod ord">
        <pc:chgData name="Belling, Thomas (Nokia - DE/Munich)" userId="38e53bf5-7a59-41ec-8bf1-bf611b810166" providerId="ADAL" clId="{E53450BC-B54C-4EAF-A049-BF3A26A7BB2B}" dt="2021-04-20T23:59:34.970" v="267" actId="47"/>
        <pc:sldMkLst>
          <pc:docMk/>
          <pc:sldMk cId="3357576919" sldId="2134805435"/>
        </pc:sldMkLst>
        <pc:spChg chg="mod">
          <ac:chgData name="Belling, Thomas (Nokia - DE/Munich)" userId="38e53bf5-7a59-41ec-8bf1-bf611b810166" providerId="ADAL" clId="{E53450BC-B54C-4EAF-A049-BF3A26A7BB2B}" dt="2021-04-20T23:48:04.585" v="85" actId="115"/>
          <ac:spMkLst>
            <pc:docMk/>
            <pc:sldMk cId="3357576919" sldId="2134805435"/>
            <ac:spMk id="4" creationId="{F46F5340-F269-4BBA-AE17-43A4BB488557}"/>
          </ac:spMkLst>
        </pc:spChg>
      </pc:sldChg>
      <pc:sldChg chg="modSp add del mod">
        <pc:chgData name="Belling, Thomas (Nokia - DE/Munich)" userId="38e53bf5-7a59-41ec-8bf1-bf611b810166" providerId="ADAL" clId="{E53450BC-B54C-4EAF-A049-BF3A26A7BB2B}" dt="2021-04-20T23:59:34.970" v="267" actId="47"/>
        <pc:sldMkLst>
          <pc:docMk/>
          <pc:sldMk cId="1505595677" sldId="2134805436"/>
        </pc:sldMkLst>
        <pc:spChg chg="mod">
          <ac:chgData name="Belling, Thomas (Nokia - DE/Munich)" userId="38e53bf5-7a59-41ec-8bf1-bf611b810166" providerId="ADAL" clId="{E53450BC-B54C-4EAF-A049-BF3A26A7BB2B}" dt="2021-04-20T23:50:32.439" v="135" actId="27636"/>
          <ac:spMkLst>
            <pc:docMk/>
            <pc:sldMk cId="1505595677" sldId="2134805436"/>
            <ac:spMk id="4" creationId="{F46F5340-F269-4BBA-AE17-43A4BB488557}"/>
          </ac:spMkLst>
        </pc:spChg>
      </pc:sldChg>
      <pc:sldChg chg="modSp add del mod">
        <pc:chgData name="Belling, Thomas (Nokia - DE/Munich)" userId="38e53bf5-7a59-41ec-8bf1-bf611b810166" providerId="ADAL" clId="{E53450BC-B54C-4EAF-A049-BF3A26A7BB2B}" dt="2021-04-20T23:59:34.970" v="267" actId="47"/>
        <pc:sldMkLst>
          <pc:docMk/>
          <pc:sldMk cId="3273401847" sldId="2134805437"/>
        </pc:sldMkLst>
        <pc:spChg chg="mod">
          <ac:chgData name="Belling, Thomas (Nokia - DE/Munich)" userId="38e53bf5-7a59-41ec-8bf1-bf611b810166" providerId="ADAL" clId="{E53450BC-B54C-4EAF-A049-BF3A26A7BB2B}" dt="2021-04-20T23:50:57.181" v="137" actId="12"/>
          <ac:spMkLst>
            <pc:docMk/>
            <pc:sldMk cId="3273401847" sldId="2134805437"/>
            <ac:spMk id="4" creationId="{F46F5340-F269-4BBA-AE17-43A4BB488557}"/>
          </ac:spMkLst>
        </pc:spChg>
      </pc:sldChg>
      <pc:sldChg chg="addSp delSp modSp add mod">
        <pc:chgData name="Belling, Thomas (Nokia - DE/Munich)" userId="38e53bf5-7a59-41ec-8bf1-bf611b810166" providerId="ADAL" clId="{E53450BC-B54C-4EAF-A049-BF3A26A7BB2B}" dt="2021-04-20T23:56:33.246" v="157"/>
        <pc:sldMkLst>
          <pc:docMk/>
          <pc:sldMk cId="1489380880" sldId="2134805438"/>
        </pc:sldMkLst>
        <pc:spChg chg="del">
          <ac:chgData name="Belling, Thomas (Nokia - DE/Munich)" userId="38e53bf5-7a59-41ec-8bf1-bf611b810166" providerId="ADAL" clId="{E53450BC-B54C-4EAF-A049-BF3A26A7BB2B}" dt="2021-04-20T23:56:27.681" v="154" actId="478"/>
          <ac:spMkLst>
            <pc:docMk/>
            <pc:sldMk cId="1489380880" sldId="2134805438"/>
            <ac:spMk id="2" creationId="{052A6F47-7772-488D-987F-CD5C7D50B01F}"/>
          </ac:spMkLst>
        </pc:spChg>
        <pc:spChg chg="del mod">
          <ac:chgData name="Belling, Thomas (Nokia - DE/Munich)" userId="38e53bf5-7a59-41ec-8bf1-bf611b810166" providerId="ADAL" clId="{E53450BC-B54C-4EAF-A049-BF3A26A7BB2B}" dt="2021-04-20T23:56:24.413" v="153" actId="478"/>
          <ac:spMkLst>
            <pc:docMk/>
            <pc:sldMk cId="1489380880" sldId="2134805438"/>
            <ac:spMk id="3" creationId="{DA709486-F833-46A6-91F9-E8F8E386F12F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6:30.238" v="156" actId="478"/>
          <ac:spMkLst>
            <pc:docMk/>
            <pc:sldMk cId="1489380880" sldId="2134805438"/>
            <ac:spMk id="6" creationId="{0D80ABB9-2775-435E-BD71-D6675C53E3D9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6:29.104" v="155" actId="478"/>
          <ac:spMkLst>
            <pc:docMk/>
            <pc:sldMk cId="1489380880" sldId="2134805438"/>
            <ac:spMk id="8" creationId="{5C163D6C-B099-4CF0-8985-59A65733E826}"/>
          </ac:spMkLst>
        </pc:spChg>
        <pc:spChg chg="add mod">
          <ac:chgData name="Belling, Thomas (Nokia - DE/Munich)" userId="38e53bf5-7a59-41ec-8bf1-bf611b810166" providerId="ADAL" clId="{E53450BC-B54C-4EAF-A049-BF3A26A7BB2B}" dt="2021-04-20T23:56:33.246" v="157"/>
          <ac:spMkLst>
            <pc:docMk/>
            <pc:sldMk cId="1489380880" sldId="2134805438"/>
            <ac:spMk id="9" creationId="{AE2D4199-28B6-45BE-A49C-C076E01CE5DC}"/>
          </ac:spMkLst>
        </pc:spChg>
        <pc:spChg chg="add mod">
          <ac:chgData name="Belling, Thomas (Nokia - DE/Munich)" userId="38e53bf5-7a59-41ec-8bf1-bf611b810166" providerId="ADAL" clId="{E53450BC-B54C-4EAF-A049-BF3A26A7BB2B}" dt="2021-04-20T23:56:33.246" v="157"/>
          <ac:spMkLst>
            <pc:docMk/>
            <pc:sldMk cId="1489380880" sldId="2134805438"/>
            <ac:spMk id="10" creationId="{7D1DA4E3-0C1C-4862-A7D5-2A63F30E5A29}"/>
          </ac:spMkLst>
        </pc:spChg>
      </pc:sldChg>
      <pc:sldChg chg="addSp delSp modSp add mod">
        <pc:chgData name="Belling, Thomas (Nokia - DE/Munich)" userId="38e53bf5-7a59-41ec-8bf1-bf611b810166" providerId="ADAL" clId="{E53450BC-B54C-4EAF-A049-BF3A26A7BB2B}" dt="2021-04-20T23:56:46.761" v="162"/>
        <pc:sldMkLst>
          <pc:docMk/>
          <pc:sldMk cId="2641481184" sldId="2134805439"/>
        </pc:sldMkLst>
        <pc:spChg chg="del">
          <ac:chgData name="Belling, Thomas (Nokia - DE/Munich)" userId="38e53bf5-7a59-41ec-8bf1-bf611b810166" providerId="ADAL" clId="{E53450BC-B54C-4EAF-A049-BF3A26A7BB2B}" dt="2021-04-20T23:56:42.918" v="160" actId="478"/>
          <ac:spMkLst>
            <pc:docMk/>
            <pc:sldMk cId="2641481184" sldId="2134805439"/>
            <ac:spMk id="2" creationId="{052A6F47-7772-488D-987F-CD5C7D50B01F}"/>
          </ac:spMkLst>
        </pc:spChg>
        <pc:spChg chg="del">
          <ac:chgData name="Belling, Thomas (Nokia - DE/Munich)" userId="38e53bf5-7a59-41ec-8bf1-bf611b810166" providerId="ADAL" clId="{E53450BC-B54C-4EAF-A049-BF3A26A7BB2B}" dt="2021-04-20T23:56:39.085" v="158" actId="478"/>
          <ac:spMkLst>
            <pc:docMk/>
            <pc:sldMk cId="2641481184" sldId="2134805439"/>
            <ac:spMk id="3" creationId="{DA709486-F833-46A6-91F9-E8F8E386F12F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6:40.909" v="159" actId="478"/>
          <ac:spMkLst>
            <pc:docMk/>
            <pc:sldMk cId="2641481184" sldId="2134805439"/>
            <ac:spMk id="6" creationId="{C91A1B81-D4E9-452E-B295-2C55C84F30BF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6:44.399" v="161" actId="478"/>
          <ac:spMkLst>
            <pc:docMk/>
            <pc:sldMk cId="2641481184" sldId="2134805439"/>
            <ac:spMk id="8" creationId="{3C18E3DA-CCEA-4D2E-8C18-3667625B93A1}"/>
          </ac:spMkLst>
        </pc:spChg>
        <pc:spChg chg="add mod">
          <ac:chgData name="Belling, Thomas (Nokia - DE/Munich)" userId="38e53bf5-7a59-41ec-8bf1-bf611b810166" providerId="ADAL" clId="{E53450BC-B54C-4EAF-A049-BF3A26A7BB2B}" dt="2021-04-20T23:56:46.761" v="162"/>
          <ac:spMkLst>
            <pc:docMk/>
            <pc:sldMk cId="2641481184" sldId="2134805439"/>
            <ac:spMk id="9" creationId="{779B2C32-81F1-48D1-8881-F1430E7A8AAF}"/>
          </ac:spMkLst>
        </pc:spChg>
        <pc:spChg chg="add mod">
          <ac:chgData name="Belling, Thomas (Nokia - DE/Munich)" userId="38e53bf5-7a59-41ec-8bf1-bf611b810166" providerId="ADAL" clId="{E53450BC-B54C-4EAF-A049-BF3A26A7BB2B}" dt="2021-04-20T23:56:46.761" v="162"/>
          <ac:spMkLst>
            <pc:docMk/>
            <pc:sldMk cId="2641481184" sldId="2134805439"/>
            <ac:spMk id="10" creationId="{11B0C174-91A4-419F-A6A8-1F03D631F670}"/>
          </ac:spMkLst>
        </pc:spChg>
      </pc:sldChg>
      <pc:sldChg chg="addSp delSp modSp add mod">
        <pc:chgData name="Belling, Thomas (Nokia - DE/Munich)" userId="38e53bf5-7a59-41ec-8bf1-bf611b810166" providerId="ADAL" clId="{E53450BC-B54C-4EAF-A049-BF3A26A7BB2B}" dt="2021-04-20T23:57:02.611" v="167"/>
        <pc:sldMkLst>
          <pc:docMk/>
          <pc:sldMk cId="3469967231" sldId="2134805440"/>
        </pc:sldMkLst>
        <pc:spChg chg="del">
          <ac:chgData name="Belling, Thomas (Nokia - DE/Munich)" userId="38e53bf5-7a59-41ec-8bf1-bf611b810166" providerId="ADAL" clId="{E53450BC-B54C-4EAF-A049-BF3A26A7BB2B}" dt="2021-04-20T23:56:59.250" v="165" actId="478"/>
          <ac:spMkLst>
            <pc:docMk/>
            <pc:sldMk cId="3469967231" sldId="2134805440"/>
            <ac:spMk id="2" creationId="{052A6F47-7772-488D-987F-CD5C7D50B01F}"/>
          </ac:spMkLst>
        </pc:spChg>
        <pc:spChg chg="del">
          <ac:chgData name="Belling, Thomas (Nokia - DE/Munich)" userId="38e53bf5-7a59-41ec-8bf1-bf611b810166" providerId="ADAL" clId="{E53450BC-B54C-4EAF-A049-BF3A26A7BB2B}" dt="2021-04-20T23:56:54.706" v="163" actId="478"/>
          <ac:spMkLst>
            <pc:docMk/>
            <pc:sldMk cId="3469967231" sldId="2134805440"/>
            <ac:spMk id="3" creationId="{DA709486-F833-46A6-91F9-E8F8E386F12F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6:56.566" v="164" actId="478"/>
          <ac:spMkLst>
            <pc:docMk/>
            <pc:sldMk cId="3469967231" sldId="2134805440"/>
            <ac:spMk id="6" creationId="{E94B2486-7137-49CD-9E19-88D559595249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7:00.865" v="166" actId="478"/>
          <ac:spMkLst>
            <pc:docMk/>
            <pc:sldMk cId="3469967231" sldId="2134805440"/>
            <ac:spMk id="8" creationId="{5F8956D1-95E1-4242-843B-99CF4BAFF911}"/>
          </ac:spMkLst>
        </pc:spChg>
        <pc:spChg chg="add mod">
          <ac:chgData name="Belling, Thomas (Nokia - DE/Munich)" userId="38e53bf5-7a59-41ec-8bf1-bf611b810166" providerId="ADAL" clId="{E53450BC-B54C-4EAF-A049-BF3A26A7BB2B}" dt="2021-04-20T23:57:02.611" v="167"/>
          <ac:spMkLst>
            <pc:docMk/>
            <pc:sldMk cId="3469967231" sldId="2134805440"/>
            <ac:spMk id="9" creationId="{DAB6C954-67A4-47F4-818F-D57C96C28ABC}"/>
          </ac:spMkLst>
        </pc:spChg>
        <pc:spChg chg="add mod">
          <ac:chgData name="Belling, Thomas (Nokia - DE/Munich)" userId="38e53bf5-7a59-41ec-8bf1-bf611b810166" providerId="ADAL" clId="{E53450BC-B54C-4EAF-A049-BF3A26A7BB2B}" dt="2021-04-20T23:57:02.611" v="167"/>
          <ac:spMkLst>
            <pc:docMk/>
            <pc:sldMk cId="3469967231" sldId="2134805440"/>
            <ac:spMk id="10" creationId="{92EF9AB8-91D9-462B-B09D-73787923E8D5}"/>
          </ac:spMkLst>
        </pc:spChg>
      </pc:sldChg>
      <pc:sldChg chg="addSp delSp modSp add mod">
        <pc:chgData name="Belling, Thomas (Nokia - DE/Munich)" userId="38e53bf5-7a59-41ec-8bf1-bf611b810166" providerId="ADAL" clId="{E53450BC-B54C-4EAF-A049-BF3A26A7BB2B}" dt="2021-04-21T15:53:54.530" v="542" actId="20577"/>
        <pc:sldMkLst>
          <pc:docMk/>
          <pc:sldMk cId="2080950129" sldId="2134805441"/>
        </pc:sldMkLst>
        <pc:spChg chg="del">
          <ac:chgData name="Belling, Thomas (Nokia - DE/Munich)" userId="38e53bf5-7a59-41ec-8bf1-bf611b810166" providerId="ADAL" clId="{E53450BC-B54C-4EAF-A049-BF3A26A7BB2B}" dt="2021-04-20T23:57:31.240" v="171" actId="478"/>
          <ac:spMkLst>
            <pc:docMk/>
            <pc:sldMk cId="2080950129" sldId="2134805441"/>
            <ac:spMk id="2" creationId="{052A6F47-7772-488D-987F-CD5C7D50B01F}"/>
          </ac:spMkLst>
        </pc:spChg>
        <pc:spChg chg="del">
          <ac:chgData name="Belling, Thomas (Nokia - DE/Munich)" userId="38e53bf5-7a59-41ec-8bf1-bf611b810166" providerId="ADAL" clId="{E53450BC-B54C-4EAF-A049-BF3A26A7BB2B}" dt="2021-04-20T23:57:27.831" v="169" actId="478"/>
          <ac:spMkLst>
            <pc:docMk/>
            <pc:sldMk cId="2080950129" sldId="2134805441"/>
            <ac:spMk id="3" creationId="{DA709486-F833-46A6-91F9-E8F8E386F12F}"/>
          </ac:spMkLst>
        </pc:spChg>
        <pc:spChg chg="mod">
          <ac:chgData name="Belling, Thomas (Nokia - DE/Munich)" userId="38e53bf5-7a59-41ec-8bf1-bf611b810166" providerId="ADAL" clId="{E53450BC-B54C-4EAF-A049-BF3A26A7BB2B}" dt="2021-04-21T15:53:54.530" v="542" actId="20577"/>
          <ac:spMkLst>
            <pc:docMk/>
            <pc:sldMk cId="2080950129" sldId="2134805441"/>
            <ac:spMk id="4" creationId="{F46F5340-F269-4BBA-AE17-43A4BB488557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7:29.235" v="170" actId="478"/>
          <ac:spMkLst>
            <pc:docMk/>
            <pc:sldMk cId="2080950129" sldId="2134805441"/>
            <ac:spMk id="6" creationId="{E17BDEA6-3D4D-49C4-99F4-4BA0FEF2F466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7:33.813" v="172" actId="478"/>
          <ac:spMkLst>
            <pc:docMk/>
            <pc:sldMk cId="2080950129" sldId="2134805441"/>
            <ac:spMk id="8" creationId="{3582BA5E-E59E-4772-9BBC-78B9E62FD12E}"/>
          </ac:spMkLst>
        </pc:spChg>
        <pc:spChg chg="add mod">
          <ac:chgData name="Belling, Thomas (Nokia - DE/Munich)" userId="38e53bf5-7a59-41ec-8bf1-bf611b810166" providerId="ADAL" clId="{E53450BC-B54C-4EAF-A049-BF3A26A7BB2B}" dt="2021-04-20T23:57:36.107" v="173"/>
          <ac:spMkLst>
            <pc:docMk/>
            <pc:sldMk cId="2080950129" sldId="2134805441"/>
            <ac:spMk id="9" creationId="{EEEFF249-9222-47E4-9504-D9C78E2930F2}"/>
          </ac:spMkLst>
        </pc:spChg>
        <pc:spChg chg="add mod">
          <ac:chgData name="Belling, Thomas (Nokia - DE/Munich)" userId="38e53bf5-7a59-41ec-8bf1-bf611b810166" providerId="ADAL" clId="{E53450BC-B54C-4EAF-A049-BF3A26A7BB2B}" dt="2021-04-20T23:57:36.107" v="173"/>
          <ac:spMkLst>
            <pc:docMk/>
            <pc:sldMk cId="2080950129" sldId="2134805441"/>
            <ac:spMk id="10" creationId="{0AE07FE3-B4BE-4731-8FD7-016196F4099E}"/>
          </ac:spMkLst>
        </pc:spChg>
      </pc:sldChg>
      <pc:sldChg chg="addSp delSp modSp add mod">
        <pc:chgData name="Belling, Thomas (Nokia - DE/Munich)" userId="38e53bf5-7a59-41ec-8bf1-bf611b810166" providerId="ADAL" clId="{E53450BC-B54C-4EAF-A049-BF3A26A7BB2B}" dt="2021-04-20T23:57:55.106" v="178"/>
        <pc:sldMkLst>
          <pc:docMk/>
          <pc:sldMk cId="556676312" sldId="2134805442"/>
        </pc:sldMkLst>
        <pc:spChg chg="del">
          <ac:chgData name="Belling, Thomas (Nokia - DE/Munich)" userId="38e53bf5-7a59-41ec-8bf1-bf611b810166" providerId="ADAL" clId="{E53450BC-B54C-4EAF-A049-BF3A26A7BB2B}" dt="2021-04-20T23:57:49.795" v="176" actId="478"/>
          <ac:spMkLst>
            <pc:docMk/>
            <pc:sldMk cId="556676312" sldId="2134805442"/>
            <ac:spMk id="2" creationId="{052A6F47-7772-488D-987F-CD5C7D50B01F}"/>
          </ac:spMkLst>
        </pc:spChg>
        <pc:spChg chg="del">
          <ac:chgData name="Belling, Thomas (Nokia - DE/Munich)" userId="38e53bf5-7a59-41ec-8bf1-bf611b810166" providerId="ADAL" clId="{E53450BC-B54C-4EAF-A049-BF3A26A7BB2B}" dt="2021-04-20T23:57:42.462" v="174" actId="478"/>
          <ac:spMkLst>
            <pc:docMk/>
            <pc:sldMk cId="556676312" sldId="2134805442"/>
            <ac:spMk id="3" creationId="{DA709486-F833-46A6-91F9-E8F8E386F12F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7:46.363" v="175" actId="478"/>
          <ac:spMkLst>
            <pc:docMk/>
            <pc:sldMk cId="556676312" sldId="2134805442"/>
            <ac:spMk id="6" creationId="{5B561233-1933-42D6-81FE-8C8EB828F6E7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7:52.971" v="177" actId="478"/>
          <ac:spMkLst>
            <pc:docMk/>
            <pc:sldMk cId="556676312" sldId="2134805442"/>
            <ac:spMk id="8" creationId="{639226D6-85D4-4EA8-826C-DC3736DFC91D}"/>
          </ac:spMkLst>
        </pc:spChg>
        <pc:spChg chg="add mod">
          <ac:chgData name="Belling, Thomas (Nokia - DE/Munich)" userId="38e53bf5-7a59-41ec-8bf1-bf611b810166" providerId="ADAL" clId="{E53450BC-B54C-4EAF-A049-BF3A26A7BB2B}" dt="2021-04-20T23:57:55.106" v="178"/>
          <ac:spMkLst>
            <pc:docMk/>
            <pc:sldMk cId="556676312" sldId="2134805442"/>
            <ac:spMk id="9" creationId="{728B3C15-BC2E-4F5F-A86C-E4D3810524DE}"/>
          </ac:spMkLst>
        </pc:spChg>
        <pc:spChg chg="add mod">
          <ac:chgData name="Belling, Thomas (Nokia - DE/Munich)" userId="38e53bf5-7a59-41ec-8bf1-bf611b810166" providerId="ADAL" clId="{E53450BC-B54C-4EAF-A049-BF3A26A7BB2B}" dt="2021-04-20T23:57:55.106" v="178"/>
          <ac:spMkLst>
            <pc:docMk/>
            <pc:sldMk cId="556676312" sldId="2134805442"/>
            <ac:spMk id="10" creationId="{F9AB219C-1C7E-4222-8416-A198B5CF53C6}"/>
          </ac:spMkLst>
        </pc:spChg>
      </pc:sldChg>
      <pc:sldChg chg="addSp delSp modSp add mod">
        <pc:chgData name="Belling, Thomas (Nokia - DE/Munich)" userId="38e53bf5-7a59-41ec-8bf1-bf611b810166" providerId="ADAL" clId="{E53450BC-B54C-4EAF-A049-BF3A26A7BB2B}" dt="2021-04-20T23:58:17.354" v="183"/>
        <pc:sldMkLst>
          <pc:docMk/>
          <pc:sldMk cId="467356926" sldId="2134805443"/>
        </pc:sldMkLst>
        <pc:spChg chg="del">
          <ac:chgData name="Belling, Thomas (Nokia - DE/Munich)" userId="38e53bf5-7a59-41ec-8bf1-bf611b810166" providerId="ADAL" clId="{E53450BC-B54C-4EAF-A049-BF3A26A7BB2B}" dt="2021-04-20T23:58:11.582" v="181" actId="478"/>
          <ac:spMkLst>
            <pc:docMk/>
            <pc:sldMk cId="467356926" sldId="2134805443"/>
            <ac:spMk id="2" creationId="{052A6F47-7772-488D-987F-CD5C7D50B01F}"/>
          </ac:spMkLst>
        </pc:spChg>
        <pc:spChg chg="del">
          <ac:chgData name="Belling, Thomas (Nokia - DE/Munich)" userId="38e53bf5-7a59-41ec-8bf1-bf611b810166" providerId="ADAL" clId="{E53450BC-B54C-4EAF-A049-BF3A26A7BB2B}" dt="2021-04-20T23:58:05.151" v="179" actId="478"/>
          <ac:spMkLst>
            <pc:docMk/>
            <pc:sldMk cId="467356926" sldId="2134805443"/>
            <ac:spMk id="3" creationId="{DA709486-F833-46A6-91F9-E8F8E386F12F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8:08.027" v="180" actId="478"/>
          <ac:spMkLst>
            <pc:docMk/>
            <pc:sldMk cId="467356926" sldId="2134805443"/>
            <ac:spMk id="6" creationId="{EF985092-F4E1-4A29-98CB-7FD6C9809472}"/>
          </ac:spMkLst>
        </pc:spChg>
        <pc:spChg chg="add del mod">
          <ac:chgData name="Belling, Thomas (Nokia - DE/Munich)" userId="38e53bf5-7a59-41ec-8bf1-bf611b810166" providerId="ADAL" clId="{E53450BC-B54C-4EAF-A049-BF3A26A7BB2B}" dt="2021-04-20T23:58:14.404" v="182" actId="478"/>
          <ac:spMkLst>
            <pc:docMk/>
            <pc:sldMk cId="467356926" sldId="2134805443"/>
            <ac:spMk id="8" creationId="{B34D2018-D567-4E7F-AB15-3E5664DC4A5D}"/>
          </ac:spMkLst>
        </pc:spChg>
        <pc:spChg chg="add mod">
          <ac:chgData name="Belling, Thomas (Nokia - DE/Munich)" userId="38e53bf5-7a59-41ec-8bf1-bf611b810166" providerId="ADAL" clId="{E53450BC-B54C-4EAF-A049-BF3A26A7BB2B}" dt="2021-04-20T23:58:17.354" v="183"/>
          <ac:spMkLst>
            <pc:docMk/>
            <pc:sldMk cId="467356926" sldId="2134805443"/>
            <ac:spMk id="9" creationId="{7A4524DC-ACC9-4D5F-B744-D768AD582522}"/>
          </ac:spMkLst>
        </pc:spChg>
        <pc:spChg chg="add mod">
          <ac:chgData name="Belling, Thomas (Nokia - DE/Munich)" userId="38e53bf5-7a59-41ec-8bf1-bf611b810166" providerId="ADAL" clId="{E53450BC-B54C-4EAF-A049-BF3A26A7BB2B}" dt="2021-04-20T23:58:17.354" v="183"/>
          <ac:spMkLst>
            <pc:docMk/>
            <pc:sldMk cId="467356926" sldId="2134805443"/>
            <ac:spMk id="10" creationId="{6F635E06-7A34-4347-980F-BCFCD4556B23}"/>
          </ac:spMkLst>
        </pc:spChg>
      </pc:sldChg>
    </pc:docChg>
  </pc:docChgLst>
  <pc:docChgLst>
    <pc:chgData name="Belling, Thomas (Nokia - DE/Munich)" userId="38e53bf5-7a59-41ec-8bf1-bf611b810166" providerId="ADAL" clId="{10086093-C4A8-4DAD-A53D-26F14777FE6D}"/>
    <pc:docChg chg="modSld">
      <pc:chgData name="Belling, Thomas (Nokia - DE/Munich)" userId="38e53bf5-7a59-41ec-8bf1-bf611b810166" providerId="ADAL" clId="{10086093-C4A8-4DAD-A53D-26F14777FE6D}" dt="2022-03-07T16:54:02.901" v="14" actId="400"/>
      <pc:docMkLst>
        <pc:docMk/>
      </pc:docMkLst>
      <pc:sldChg chg="modSp mod">
        <pc:chgData name="Belling, Thomas (Nokia - DE/Munich)" userId="38e53bf5-7a59-41ec-8bf1-bf611b810166" providerId="ADAL" clId="{10086093-C4A8-4DAD-A53D-26F14777FE6D}" dt="2022-03-07T16:54:02.901" v="14" actId="400"/>
        <pc:sldMkLst>
          <pc:docMk/>
          <pc:sldMk cId="4045243974" sldId="2134805540"/>
        </pc:sldMkLst>
        <pc:spChg chg="mod">
          <ac:chgData name="Belling, Thomas (Nokia - DE/Munich)" userId="38e53bf5-7a59-41ec-8bf1-bf611b810166" providerId="ADAL" clId="{10086093-C4A8-4DAD-A53D-26F14777FE6D}" dt="2022-03-07T16:54:02.901" v="14" actId="400"/>
          <ac:spMkLst>
            <pc:docMk/>
            <pc:sldMk cId="4045243974" sldId="2134805540"/>
            <ac:spMk id="4" creationId="{CD72C33D-DF40-4601-AF02-8DFD5A6EA958}"/>
          </ac:spMkLst>
        </pc:spChg>
      </pc:sldChg>
    </pc:docChg>
  </pc:docChgLst>
  <pc:docChgLst>
    <pc:chgData name="Shen, Sherry (NSB - CN/Beijing)" userId="acf2e5cf-b8b4-4ce6-81c0-0dc594513efe" providerId="ADAL" clId="{03B7DB04-99C6-43C4-85C9-92F0F1CAD5BC}"/>
    <pc:docChg chg="undo redo custSel modSld">
      <pc:chgData name="Shen, Sherry (NSB - CN/Beijing)" userId="acf2e5cf-b8b4-4ce6-81c0-0dc594513efe" providerId="ADAL" clId="{03B7DB04-99C6-43C4-85C9-92F0F1CAD5BC}" dt="2020-03-12T11:15:34.480" v="850" actId="27636"/>
      <pc:docMkLst>
        <pc:docMk/>
      </pc:docMkLst>
      <pc:sldChg chg="modSp">
        <pc:chgData name="Shen, Sherry (NSB - CN/Beijing)" userId="acf2e5cf-b8b4-4ce6-81c0-0dc594513efe" providerId="ADAL" clId="{03B7DB04-99C6-43C4-85C9-92F0F1CAD5BC}" dt="2020-03-12T11:01:28.216" v="725" actId="6549"/>
        <pc:sldMkLst>
          <pc:docMk/>
          <pc:sldMk cId="1709557886" sldId="279"/>
        </pc:sldMkLst>
        <pc:spChg chg="mod">
          <ac:chgData name="Shen, Sherry (NSB - CN/Beijing)" userId="acf2e5cf-b8b4-4ce6-81c0-0dc594513efe" providerId="ADAL" clId="{03B7DB04-99C6-43C4-85C9-92F0F1CAD5BC}" dt="2020-03-12T11:01:28.216" v="725" actId="6549"/>
          <ac:spMkLst>
            <pc:docMk/>
            <pc:sldMk cId="1709557886" sldId="279"/>
            <ac:spMk id="5" creationId="{A560F786-3A6C-41F0-99EF-DFF4DE7F777C}"/>
          </ac:spMkLst>
        </pc:spChg>
      </pc:sldChg>
      <pc:sldChg chg="modSp">
        <pc:chgData name="Shen, Sherry (NSB - CN/Beijing)" userId="acf2e5cf-b8b4-4ce6-81c0-0dc594513efe" providerId="ADAL" clId="{03B7DB04-99C6-43C4-85C9-92F0F1CAD5BC}" dt="2020-03-12T11:08:01.663" v="767" actId="108"/>
        <pc:sldMkLst>
          <pc:docMk/>
          <pc:sldMk cId="1172224137" sldId="287"/>
        </pc:sldMkLst>
        <pc:spChg chg="mod">
          <ac:chgData name="Shen, Sherry (NSB - CN/Beijing)" userId="acf2e5cf-b8b4-4ce6-81c0-0dc594513efe" providerId="ADAL" clId="{03B7DB04-99C6-43C4-85C9-92F0F1CAD5BC}" dt="2020-03-12T11:08:01.663" v="767" actId="108"/>
          <ac:spMkLst>
            <pc:docMk/>
            <pc:sldMk cId="1172224137" sldId="287"/>
            <ac:spMk id="5" creationId="{A560F786-3A6C-41F0-99EF-DFF4DE7F777C}"/>
          </ac:spMkLst>
        </pc:spChg>
      </pc:sldChg>
    </pc:docChg>
  </pc:docChgLst>
  <pc:docChgLst>
    <pc:chgData name="Pallab Gupta (Nokia)" userId="2373e1e1-8f73-46a5-bf2c-89beccfccabe" providerId="ADAL" clId="{26ADD8B3-8939-4083-9482-545FAFDBD1CF}"/>
    <pc:docChg chg="undo custSel addSld delSld modSld">
      <pc:chgData name="Pallab Gupta (Nokia)" userId="2373e1e1-8f73-46a5-bf2c-89beccfccabe" providerId="ADAL" clId="{26ADD8B3-8939-4083-9482-545FAFDBD1CF}" dt="2023-03-02T16:17:46.327" v="52" actId="20577"/>
      <pc:docMkLst>
        <pc:docMk/>
      </pc:docMkLst>
      <pc:sldChg chg="add">
        <pc:chgData name="Pallab Gupta (Nokia)" userId="2373e1e1-8f73-46a5-bf2c-89beccfccabe" providerId="ADAL" clId="{26ADD8B3-8939-4083-9482-545FAFDBD1CF}" dt="2023-03-02T16:12:53.691" v="3"/>
        <pc:sldMkLst>
          <pc:docMk/>
          <pc:sldMk cId="3147246536" sldId="2134805527"/>
        </pc:sldMkLst>
      </pc:sldChg>
      <pc:sldChg chg="del">
        <pc:chgData name="Pallab Gupta (Nokia)" userId="2373e1e1-8f73-46a5-bf2c-89beccfccabe" providerId="ADAL" clId="{26ADD8B3-8939-4083-9482-545FAFDBD1CF}" dt="2023-03-02T16:13:03.059" v="6" actId="47"/>
        <pc:sldMkLst>
          <pc:docMk/>
          <pc:sldMk cId="2823810649" sldId="2134805528"/>
        </pc:sldMkLst>
      </pc:sldChg>
      <pc:sldChg chg="add del">
        <pc:chgData name="Pallab Gupta (Nokia)" userId="2373e1e1-8f73-46a5-bf2c-89beccfccabe" providerId="ADAL" clId="{26ADD8B3-8939-4083-9482-545FAFDBD1CF}" dt="2023-03-02T16:15:10.864" v="17"/>
        <pc:sldMkLst>
          <pc:docMk/>
          <pc:sldMk cId="3601372499" sldId="2134805539"/>
        </pc:sldMkLst>
      </pc:sldChg>
      <pc:sldChg chg="add del">
        <pc:chgData name="Pallab Gupta (Nokia)" userId="2373e1e1-8f73-46a5-bf2c-89beccfccabe" providerId="ADAL" clId="{26ADD8B3-8939-4083-9482-545FAFDBD1CF}" dt="2023-03-02T16:15:10.864" v="17"/>
        <pc:sldMkLst>
          <pc:docMk/>
          <pc:sldMk cId="2965957211" sldId="2134805540"/>
        </pc:sldMkLst>
      </pc:sldChg>
      <pc:sldChg chg="add del">
        <pc:chgData name="Pallab Gupta (Nokia)" userId="2373e1e1-8f73-46a5-bf2c-89beccfccabe" providerId="ADAL" clId="{26ADD8B3-8939-4083-9482-545FAFDBD1CF}" dt="2023-03-02T16:15:10.864" v="17"/>
        <pc:sldMkLst>
          <pc:docMk/>
          <pc:sldMk cId="4016153925" sldId="2134805541"/>
        </pc:sldMkLst>
      </pc:sldChg>
      <pc:sldChg chg="add">
        <pc:chgData name="Pallab Gupta (Nokia)" userId="2373e1e1-8f73-46a5-bf2c-89beccfccabe" providerId="ADAL" clId="{26ADD8B3-8939-4083-9482-545FAFDBD1CF}" dt="2023-03-02T16:15:10.864" v="17"/>
        <pc:sldMkLst>
          <pc:docMk/>
          <pc:sldMk cId="2632831134" sldId="2134805542"/>
        </pc:sldMkLst>
      </pc:sldChg>
      <pc:sldChg chg="del">
        <pc:chgData name="Pallab Gupta (Nokia)" userId="2373e1e1-8f73-46a5-bf2c-89beccfccabe" providerId="ADAL" clId="{26ADD8B3-8939-4083-9482-545FAFDBD1CF}" dt="2023-03-02T16:15:00.133" v="14" actId="47"/>
        <pc:sldMkLst>
          <pc:docMk/>
          <pc:sldMk cId="3370693477" sldId="2134805542"/>
        </pc:sldMkLst>
      </pc:sldChg>
      <pc:sldChg chg="add">
        <pc:chgData name="Pallab Gupta (Nokia)" userId="2373e1e1-8f73-46a5-bf2c-89beccfccabe" providerId="ADAL" clId="{26ADD8B3-8939-4083-9482-545FAFDBD1CF}" dt="2023-03-02T16:15:10.864" v="17"/>
        <pc:sldMkLst>
          <pc:docMk/>
          <pc:sldMk cId="1666261071" sldId="2134805543"/>
        </pc:sldMkLst>
      </pc:sldChg>
      <pc:sldChg chg="del">
        <pc:chgData name="Pallab Gupta (Nokia)" userId="2373e1e1-8f73-46a5-bf2c-89beccfccabe" providerId="ADAL" clId="{26ADD8B3-8939-4083-9482-545FAFDBD1CF}" dt="2023-03-02T16:15:05.043" v="15" actId="47"/>
        <pc:sldMkLst>
          <pc:docMk/>
          <pc:sldMk cId="2753754778" sldId="2134805543"/>
        </pc:sldMkLst>
      </pc:sldChg>
      <pc:sldChg chg="del">
        <pc:chgData name="Pallab Gupta (Nokia)" userId="2373e1e1-8f73-46a5-bf2c-89beccfccabe" providerId="ADAL" clId="{26ADD8B3-8939-4083-9482-545FAFDBD1CF}" dt="2023-03-02T16:15:06.053" v="16" actId="47"/>
        <pc:sldMkLst>
          <pc:docMk/>
          <pc:sldMk cId="1926269436" sldId="2134805544"/>
        </pc:sldMkLst>
      </pc:sldChg>
      <pc:sldChg chg="del">
        <pc:chgData name="Pallab Gupta (Nokia)" userId="2373e1e1-8f73-46a5-bf2c-89beccfccabe" providerId="ADAL" clId="{26ADD8B3-8939-4083-9482-545FAFDBD1CF}" dt="2023-03-02T16:15:14.826" v="18" actId="47"/>
        <pc:sldMkLst>
          <pc:docMk/>
          <pc:sldMk cId="961900337" sldId="2134805545"/>
        </pc:sldMkLst>
      </pc:sldChg>
      <pc:sldChg chg="add">
        <pc:chgData name="Pallab Gupta (Nokia)" userId="2373e1e1-8f73-46a5-bf2c-89beccfccabe" providerId="ADAL" clId="{26ADD8B3-8939-4083-9482-545FAFDBD1CF}" dt="2023-03-02T16:12:53.691" v="3"/>
        <pc:sldMkLst>
          <pc:docMk/>
          <pc:sldMk cId="1837257800" sldId="2134805566"/>
        </pc:sldMkLst>
      </pc:sldChg>
      <pc:sldChg chg="del">
        <pc:chgData name="Pallab Gupta (Nokia)" userId="2373e1e1-8f73-46a5-bf2c-89beccfccabe" providerId="ADAL" clId="{26ADD8B3-8939-4083-9482-545FAFDBD1CF}" dt="2023-03-02T16:12:06.903" v="2" actId="47"/>
        <pc:sldMkLst>
          <pc:docMk/>
          <pc:sldMk cId="2798450366" sldId="2134805567"/>
        </pc:sldMkLst>
      </pc:sldChg>
      <pc:sldChg chg="add">
        <pc:chgData name="Pallab Gupta (Nokia)" userId="2373e1e1-8f73-46a5-bf2c-89beccfccabe" providerId="ADAL" clId="{26ADD8B3-8939-4083-9482-545FAFDBD1CF}" dt="2023-03-02T16:12:53.691" v="3"/>
        <pc:sldMkLst>
          <pc:docMk/>
          <pc:sldMk cId="3755841832" sldId="2134805567"/>
        </pc:sldMkLst>
      </pc:sldChg>
      <pc:sldChg chg="add">
        <pc:chgData name="Pallab Gupta (Nokia)" userId="2373e1e1-8f73-46a5-bf2c-89beccfccabe" providerId="ADAL" clId="{26ADD8B3-8939-4083-9482-545FAFDBD1CF}" dt="2023-03-02T16:12:02.138" v="0"/>
        <pc:sldMkLst>
          <pc:docMk/>
          <pc:sldMk cId="873214331" sldId="2134805568"/>
        </pc:sldMkLst>
      </pc:sldChg>
      <pc:sldChg chg="del">
        <pc:chgData name="Pallab Gupta (Nokia)" userId="2373e1e1-8f73-46a5-bf2c-89beccfccabe" providerId="ADAL" clId="{26ADD8B3-8939-4083-9482-545FAFDBD1CF}" dt="2023-03-02T16:13:54.869" v="9" actId="47"/>
        <pc:sldMkLst>
          <pc:docMk/>
          <pc:sldMk cId="494477773" sldId="2134805580"/>
        </pc:sldMkLst>
      </pc:sldChg>
      <pc:sldChg chg="del">
        <pc:chgData name="Pallab Gupta (Nokia)" userId="2373e1e1-8f73-46a5-bf2c-89beccfccabe" providerId="ADAL" clId="{26ADD8B3-8939-4083-9482-545FAFDBD1CF}" dt="2023-03-02T16:13:54.869" v="9" actId="47"/>
        <pc:sldMkLst>
          <pc:docMk/>
          <pc:sldMk cId="1533017053" sldId="2134805581"/>
        </pc:sldMkLst>
      </pc:sldChg>
      <pc:sldChg chg="del">
        <pc:chgData name="Pallab Gupta (Nokia)" userId="2373e1e1-8f73-46a5-bf2c-89beccfccabe" providerId="ADAL" clId="{26ADD8B3-8939-4083-9482-545FAFDBD1CF}" dt="2023-03-02T16:13:54.869" v="9" actId="47"/>
        <pc:sldMkLst>
          <pc:docMk/>
          <pc:sldMk cId="1604579669" sldId="2134805582"/>
        </pc:sldMkLst>
      </pc:sldChg>
      <pc:sldChg chg="modSp mod">
        <pc:chgData name="Pallab Gupta (Nokia)" userId="2373e1e1-8f73-46a5-bf2c-89beccfccabe" providerId="ADAL" clId="{26ADD8B3-8939-4083-9482-545FAFDBD1CF}" dt="2023-03-02T16:17:46.327" v="52" actId="20577"/>
        <pc:sldMkLst>
          <pc:docMk/>
          <pc:sldMk cId="2563611883" sldId="2134805602"/>
        </pc:sldMkLst>
        <pc:spChg chg="mod">
          <ac:chgData name="Pallab Gupta (Nokia)" userId="2373e1e1-8f73-46a5-bf2c-89beccfccabe" providerId="ADAL" clId="{26ADD8B3-8939-4083-9482-545FAFDBD1CF}" dt="2023-03-02T16:17:46.327" v="52" actId="20577"/>
          <ac:spMkLst>
            <pc:docMk/>
            <pc:sldMk cId="2563611883" sldId="2134805602"/>
            <ac:spMk id="4" creationId="{B91515A7-343D-47E8-82B8-D58ED83CD3B1}"/>
          </ac:spMkLst>
        </pc:spChg>
      </pc:sldChg>
      <pc:sldChg chg="del">
        <pc:chgData name="Pallab Gupta (Nokia)" userId="2373e1e1-8f73-46a5-bf2c-89beccfccabe" providerId="ADAL" clId="{26ADD8B3-8939-4083-9482-545FAFDBD1CF}" dt="2023-03-02T16:14:58.434" v="11" actId="47"/>
        <pc:sldMkLst>
          <pc:docMk/>
          <pc:sldMk cId="1691450444" sldId="2146846959"/>
        </pc:sldMkLst>
      </pc:sldChg>
      <pc:sldChg chg="del">
        <pc:chgData name="Pallab Gupta (Nokia)" userId="2373e1e1-8f73-46a5-bf2c-89beccfccabe" providerId="ADAL" clId="{26ADD8B3-8939-4083-9482-545FAFDBD1CF}" dt="2023-03-02T16:13:54.869" v="9" actId="47"/>
        <pc:sldMkLst>
          <pc:docMk/>
          <pc:sldMk cId="1895940572" sldId="2146846960"/>
        </pc:sldMkLst>
      </pc:sldChg>
      <pc:sldChg chg="del">
        <pc:chgData name="Pallab Gupta (Nokia)" userId="2373e1e1-8f73-46a5-bf2c-89beccfccabe" providerId="ADAL" clId="{26ADD8B3-8939-4083-9482-545FAFDBD1CF}" dt="2023-03-02T16:13:54.869" v="9" actId="47"/>
        <pc:sldMkLst>
          <pc:docMk/>
          <pc:sldMk cId="3151455156" sldId="2146846961"/>
        </pc:sldMkLst>
      </pc:sldChg>
      <pc:sldChg chg="del">
        <pc:chgData name="Pallab Gupta (Nokia)" userId="2373e1e1-8f73-46a5-bf2c-89beccfccabe" providerId="ADAL" clId="{26ADD8B3-8939-4083-9482-545FAFDBD1CF}" dt="2023-03-02T16:12:58.302" v="4" actId="47"/>
        <pc:sldMkLst>
          <pc:docMk/>
          <pc:sldMk cId="1819300235" sldId="2146846962"/>
        </pc:sldMkLst>
      </pc:sldChg>
      <pc:sldChg chg="del">
        <pc:chgData name="Pallab Gupta (Nokia)" userId="2373e1e1-8f73-46a5-bf2c-89beccfccabe" providerId="ADAL" clId="{26ADD8B3-8939-4083-9482-545FAFDBD1CF}" dt="2023-03-02T16:13:02.172" v="5" actId="47"/>
        <pc:sldMkLst>
          <pc:docMk/>
          <pc:sldMk cId="244132472" sldId="2146846963"/>
        </pc:sldMkLst>
      </pc:sldChg>
      <pc:sldChg chg="del">
        <pc:chgData name="Pallab Gupta (Nokia)" userId="2373e1e1-8f73-46a5-bf2c-89beccfccabe" providerId="ADAL" clId="{26ADD8B3-8939-4083-9482-545FAFDBD1CF}" dt="2023-03-02T16:13:04.848" v="7" actId="47"/>
        <pc:sldMkLst>
          <pc:docMk/>
          <pc:sldMk cId="300804447" sldId="2146846964"/>
        </pc:sldMkLst>
      </pc:sldChg>
      <pc:sldChg chg="del">
        <pc:chgData name="Pallab Gupta (Nokia)" userId="2373e1e1-8f73-46a5-bf2c-89beccfccabe" providerId="ADAL" clId="{26ADD8B3-8939-4083-9482-545FAFDBD1CF}" dt="2023-03-02T16:12:06.035" v="1" actId="47"/>
        <pc:sldMkLst>
          <pc:docMk/>
          <pc:sldMk cId="1579602630" sldId="2146846965"/>
        </pc:sldMkLst>
      </pc:sldChg>
      <pc:sldChg chg="modSp add mod">
        <pc:chgData name="Pallab Gupta (Nokia)" userId="2373e1e1-8f73-46a5-bf2c-89beccfccabe" providerId="ADAL" clId="{26ADD8B3-8939-4083-9482-545FAFDBD1CF}" dt="2023-03-02T16:17:20.478" v="46" actId="20577"/>
        <pc:sldMkLst>
          <pc:docMk/>
          <pc:sldMk cId="584787385" sldId="2146846997"/>
        </pc:sldMkLst>
        <pc:spChg chg="mod">
          <ac:chgData name="Pallab Gupta (Nokia)" userId="2373e1e1-8f73-46a5-bf2c-89beccfccabe" providerId="ADAL" clId="{26ADD8B3-8939-4083-9482-545FAFDBD1CF}" dt="2023-03-02T16:17:20.478" v="46" actId="20577"/>
          <ac:spMkLst>
            <pc:docMk/>
            <pc:sldMk cId="584787385" sldId="2146846997"/>
            <ac:spMk id="6" creationId="{2E20DBE3-132B-4E49-9B12-D7A9DE1B1D38}"/>
          </ac:spMkLst>
        </pc:spChg>
      </pc:sldChg>
      <pc:sldChg chg="add">
        <pc:chgData name="Pallab Gupta (Nokia)" userId="2373e1e1-8f73-46a5-bf2c-89beccfccabe" providerId="ADAL" clId="{26ADD8B3-8939-4083-9482-545FAFDBD1CF}" dt="2023-03-02T16:12:02.138" v="0"/>
        <pc:sldMkLst>
          <pc:docMk/>
          <pc:sldMk cId="3805609563" sldId="2146846998"/>
        </pc:sldMkLst>
      </pc:sldChg>
      <pc:sldChg chg="add">
        <pc:chgData name="Pallab Gupta (Nokia)" userId="2373e1e1-8f73-46a5-bf2c-89beccfccabe" providerId="ADAL" clId="{26ADD8B3-8939-4083-9482-545FAFDBD1CF}" dt="2023-03-02T16:12:53.691" v="3"/>
        <pc:sldMkLst>
          <pc:docMk/>
          <pc:sldMk cId="3255224694" sldId="2146846999"/>
        </pc:sldMkLst>
      </pc:sldChg>
      <pc:sldChg chg="add">
        <pc:chgData name="Pallab Gupta (Nokia)" userId="2373e1e1-8f73-46a5-bf2c-89beccfccabe" providerId="ADAL" clId="{26ADD8B3-8939-4083-9482-545FAFDBD1CF}" dt="2023-03-02T16:12:53.691" v="3"/>
        <pc:sldMkLst>
          <pc:docMk/>
          <pc:sldMk cId="3720784986" sldId="2146847000"/>
        </pc:sldMkLst>
      </pc:sldChg>
      <pc:sldChg chg="add">
        <pc:chgData name="Pallab Gupta (Nokia)" userId="2373e1e1-8f73-46a5-bf2c-89beccfccabe" providerId="ADAL" clId="{26ADD8B3-8939-4083-9482-545FAFDBD1CF}" dt="2023-03-02T16:12:53.691" v="3"/>
        <pc:sldMkLst>
          <pc:docMk/>
          <pc:sldMk cId="1928779831" sldId="2146847001"/>
        </pc:sldMkLst>
      </pc:sldChg>
      <pc:sldChg chg="add">
        <pc:chgData name="Pallab Gupta (Nokia)" userId="2373e1e1-8f73-46a5-bf2c-89beccfccabe" providerId="ADAL" clId="{26ADD8B3-8939-4083-9482-545FAFDBD1CF}" dt="2023-03-02T16:13:42.577" v="8"/>
        <pc:sldMkLst>
          <pc:docMk/>
          <pc:sldMk cId="505672447" sldId="2146847002"/>
        </pc:sldMkLst>
      </pc:sldChg>
      <pc:sldChg chg="add">
        <pc:chgData name="Pallab Gupta (Nokia)" userId="2373e1e1-8f73-46a5-bf2c-89beccfccabe" providerId="ADAL" clId="{26ADD8B3-8939-4083-9482-545FAFDBD1CF}" dt="2023-03-02T16:13:42.577" v="8"/>
        <pc:sldMkLst>
          <pc:docMk/>
          <pc:sldMk cId="2435684361" sldId="2146847003"/>
        </pc:sldMkLst>
      </pc:sldChg>
      <pc:sldChg chg="add">
        <pc:chgData name="Pallab Gupta (Nokia)" userId="2373e1e1-8f73-46a5-bf2c-89beccfccabe" providerId="ADAL" clId="{26ADD8B3-8939-4083-9482-545FAFDBD1CF}" dt="2023-03-02T16:13:42.577" v="8"/>
        <pc:sldMkLst>
          <pc:docMk/>
          <pc:sldMk cId="1177758861" sldId="2146847004"/>
        </pc:sldMkLst>
      </pc:sldChg>
      <pc:sldChg chg="add">
        <pc:chgData name="Pallab Gupta (Nokia)" userId="2373e1e1-8f73-46a5-bf2c-89beccfccabe" providerId="ADAL" clId="{26ADD8B3-8939-4083-9482-545FAFDBD1CF}" dt="2023-03-02T16:13:42.577" v="8"/>
        <pc:sldMkLst>
          <pc:docMk/>
          <pc:sldMk cId="196135450" sldId="2146847005"/>
        </pc:sldMkLst>
      </pc:sldChg>
      <pc:sldChg chg="add">
        <pc:chgData name="Pallab Gupta (Nokia)" userId="2373e1e1-8f73-46a5-bf2c-89beccfccabe" providerId="ADAL" clId="{26ADD8B3-8939-4083-9482-545FAFDBD1CF}" dt="2023-03-02T16:13:42.577" v="8"/>
        <pc:sldMkLst>
          <pc:docMk/>
          <pc:sldMk cId="2956599082" sldId="2146847006"/>
        </pc:sldMkLst>
      </pc:sldChg>
      <pc:sldChg chg="add">
        <pc:chgData name="Pallab Gupta (Nokia)" userId="2373e1e1-8f73-46a5-bf2c-89beccfccabe" providerId="ADAL" clId="{26ADD8B3-8939-4083-9482-545FAFDBD1CF}" dt="2023-03-02T16:13:42.577" v="8"/>
        <pc:sldMkLst>
          <pc:docMk/>
          <pc:sldMk cId="2318834556" sldId="2146847007"/>
        </pc:sldMkLst>
      </pc:sldChg>
      <pc:sldChg chg="add">
        <pc:chgData name="Pallab Gupta (Nokia)" userId="2373e1e1-8f73-46a5-bf2c-89beccfccabe" providerId="ADAL" clId="{26ADD8B3-8939-4083-9482-545FAFDBD1CF}" dt="2023-03-02T16:13:42.577" v="8"/>
        <pc:sldMkLst>
          <pc:docMk/>
          <pc:sldMk cId="4070249187" sldId="2146847008"/>
        </pc:sldMkLst>
      </pc:sldChg>
      <pc:sldChg chg="add">
        <pc:chgData name="Pallab Gupta (Nokia)" userId="2373e1e1-8f73-46a5-bf2c-89beccfccabe" providerId="ADAL" clId="{26ADD8B3-8939-4083-9482-545FAFDBD1CF}" dt="2023-03-02T16:15:10.864" v="17"/>
        <pc:sldMkLst>
          <pc:docMk/>
          <pc:sldMk cId="1691450444" sldId="2146847009"/>
        </pc:sldMkLst>
      </pc:sldChg>
      <pc:sldChg chg="modSp add del mod">
        <pc:chgData name="Pallab Gupta (Nokia)" userId="2373e1e1-8f73-46a5-bf2c-89beccfccabe" providerId="ADAL" clId="{26ADD8B3-8939-4083-9482-545FAFDBD1CF}" dt="2023-03-02T16:16:07.977" v="23"/>
        <pc:sldMkLst>
          <pc:docMk/>
          <pc:sldMk cId="1268801691" sldId="2146847010"/>
        </pc:sldMkLst>
        <pc:spChg chg="mod">
          <ac:chgData name="Pallab Gupta (Nokia)" userId="2373e1e1-8f73-46a5-bf2c-89beccfccabe" providerId="ADAL" clId="{26ADD8B3-8939-4083-9482-545FAFDBD1CF}" dt="2023-03-02T16:16:06.951" v="22" actId="20577"/>
          <ac:spMkLst>
            <pc:docMk/>
            <pc:sldMk cId="1268801691" sldId="2146847010"/>
            <ac:spMk id="2" creationId="{673AE4A4-F521-4B46-BB77-BDFFF6278B02}"/>
          </ac:spMkLst>
        </pc:spChg>
      </pc:sldChg>
      <pc:sldChg chg="delSp add mod">
        <pc:chgData name="Pallab Gupta (Nokia)" userId="2373e1e1-8f73-46a5-bf2c-89beccfccabe" providerId="ADAL" clId="{26ADD8B3-8939-4083-9482-545FAFDBD1CF}" dt="2023-03-02T16:16:36.017" v="25" actId="478"/>
        <pc:sldMkLst>
          <pc:docMk/>
          <pc:sldMk cId="1684592820" sldId="2146847010"/>
        </pc:sldMkLst>
        <pc:spChg chg="del">
          <ac:chgData name="Pallab Gupta (Nokia)" userId="2373e1e1-8f73-46a5-bf2c-89beccfccabe" providerId="ADAL" clId="{26ADD8B3-8939-4083-9482-545FAFDBD1CF}" dt="2023-03-02T16:16:36.017" v="25" actId="478"/>
          <ac:spMkLst>
            <pc:docMk/>
            <pc:sldMk cId="1684592820" sldId="2146847010"/>
            <ac:spMk id="5" creationId="{CA5610C5-952B-4C82-A8B7-CF6E5D8CEBF8}"/>
          </ac:spMkLst>
        </pc:spChg>
      </pc:sldChg>
      <pc:sldChg chg="add">
        <pc:chgData name="Pallab Gupta (Nokia)" userId="2373e1e1-8f73-46a5-bf2c-89beccfccabe" providerId="ADAL" clId="{26ADD8B3-8939-4083-9482-545FAFDBD1CF}" dt="2023-03-02T16:16:19.579" v="24"/>
        <pc:sldMkLst>
          <pc:docMk/>
          <pc:sldMk cId="386053591" sldId="2146847011"/>
        </pc:sldMkLst>
      </pc:sldChg>
      <pc:sldChg chg="add del">
        <pc:chgData name="Pallab Gupta (Nokia)" userId="2373e1e1-8f73-46a5-bf2c-89beccfccabe" providerId="ADAL" clId="{26ADD8B3-8939-4083-9482-545FAFDBD1CF}" dt="2023-03-02T16:16:07.977" v="23"/>
        <pc:sldMkLst>
          <pc:docMk/>
          <pc:sldMk cId="1829382655" sldId="2146847011"/>
        </pc:sldMkLst>
      </pc:sldChg>
    </pc:docChg>
  </pc:docChgLst>
  <pc:docChgLst>
    <pc:chgData name="Casati, Alessio (Nokia - GB)" userId="S::alessio.casati@nokia.com::6f050b0a-bf61-49f1-93be-076af52cf2e7" providerId="AD" clId="Web-{1B820435-A104-6A0A-EDE9-5099526F3735}"/>
    <pc:docChg chg="addSld delSld modSld">
      <pc:chgData name="Casati, Alessio (Nokia - GB)" userId="S::alessio.casati@nokia.com::6f050b0a-bf61-49f1-93be-076af52cf2e7" providerId="AD" clId="Web-{1B820435-A104-6A0A-EDE9-5099526F3735}" dt="2022-09-02T14:20:06.793" v="339" actId="20577"/>
      <pc:docMkLst>
        <pc:docMk/>
      </pc:docMkLst>
      <pc:sldChg chg="modSp">
        <pc:chgData name="Casati, Alessio (Nokia - GB)" userId="S::alessio.casati@nokia.com::6f050b0a-bf61-49f1-93be-076af52cf2e7" providerId="AD" clId="Web-{1B820435-A104-6A0A-EDE9-5099526F3735}" dt="2022-09-02T13:37:34.626" v="0" actId="20577"/>
        <pc:sldMkLst>
          <pc:docMk/>
          <pc:sldMk cId="2530568336" sldId="259"/>
        </pc:sldMkLst>
        <pc:spChg chg="mod">
          <ac:chgData name="Casati, Alessio (Nokia - GB)" userId="S::alessio.casati@nokia.com::6f050b0a-bf61-49f1-93be-076af52cf2e7" providerId="AD" clId="Web-{1B820435-A104-6A0A-EDE9-5099526F3735}" dt="2022-09-02T13:37:34.626" v="0" actId="20577"/>
          <ac:spMkLst>
            <pc:docMk/>
            <pc:sldMk cId="2530568336" sldId="259"/>
            <ac:spMk id="5" creationId="{19C2794D-7A2C-4C3B-92BA-311B07B515ED}"/>
          </ac:spMkLst>
        </pc:spChg>
      </pc:sldChg>
      <pc:sldChg chg="modSp">
        <pc:chgData name="Casati, Alessio (Nokia - GB)" userId="S::alessio.casati@nokia.com::6f050b0a-bf61-49f1-93be-076af52cf2e7" providerId="AD" clId="Web-{1B820435-A104-6A0A-EDE9-5099526F3735}" dt="2022-09-02T13:50:44.787" v="125" actId="20577"/>
        <pc:sldMkLst>
          <pc:docMk/>
          <pc:sldMk cId="1762226801" sldId="2146846817"/>
        </pc:sldMkLst>
        <pc:spChg chg="mod">
          <ac:chgData name="Casati, Alessio (Nokia - GB)" userId="S::alessio.casati@nokia.com::6f050b0a-bf61-49f1-93be-076af52cf2e7" providerId="AD" clId="Web-{1B820435-A104-6A0A-EDE9-5099526F3735}" dt="2022-09-02T13:50:44.787" v="125" actId="20577"/>
          <ac:spMkLst>
            <pc:docMk/>
            <pc:sldMk cId="1762226801" sldId="2146846817"/>
            <ac:spMk id="4" creationId="{CD72C33D-DF40-4601-AF02-8DFD5A6EA958}"/>
          </ac:spMkLst>
        </pc:spChg>
      </pc:sldChg>
      <pc:sldChg chg="modSp">
        <pc:chgData name="Casati, Alessio (Nokia - GB)" userId="S::alessio.casati@nokia.com::6f050b0a-bf61-49f1-93be-076af52cf2e7" providerId="AD" clId="Web-{1B820435-A104-6A0A-EDE9-5099526F3735}" dt="2022-09-02T14:08:40.576" v="249" actId="20577"/>
        <pc:sldMkLst>
          <pc:docMk/>
          <pc:sldMk cId="1638951385" sldId="2146846818"/>
        </pc:sldMkLst>
        <pc:spChg chg="mod">
          <ac:chgData name="Casati, Alessio (Nokia - GB)" userId="S::alessio.casati@nokia.com::6f050b0a-bf61-49f1-93be-076af52cf2e7" providerId="AD" clId="Web-{1B820435-A104-6A0A-EDE9-5099526F3735}" dt="2022-09-02T14:08:40.576" v="249" actId="20577"/>
          <ac:spMkLst>
            <pc:docMk/>
            <pc:sldMk cId="1638951385" sldId="2146846818"/>
            <ac:spMk id="4" creationId="{CD72C33D-DF40-4601-AF02-8DFD5A6EA958}"/>
          </ac:spMkLst>
        </pc:spChg>
      </pc:sldChg>
      <pc:sldChg chg="addSp modSp">
        <pc:chgData name="Casati, Alessio (Nokia - GB)" userId="S::alessio.casati@nokia.com::6f050b0a-bf61-49f1-93be-076af52cf2e7" providerId="AD" clId="Web-{1B820435-A104-6A0A-EDE9-5099526F3735}" dt="2022-09-02T14:16:17.575" v="302" actId="14100"/>
        <pc:sldMkLst>
          <pc:docMk/>
          <pc:sldMk cId="31144451" sldId="2146846844"/>
        </pc:sldMkLst>
        <pc:spChg chg="add mod">
          <ac:chgData name="Casati, Alessio (Nokia - GB)" userId="S::alessio.casati@nokia.com::6f050b0a-bf61-49f1-93be-076af52cf2e7" providerId="AD" clId="Web-{1B820435-A104-6A0A-EDE9-5099526F3735}" dt="2022-09-02T14:16:17.575" v="302" actId="14100"/>
          <ac:spMkLst>
            <pc:docMk/>
            <pc:sldMk cId="31144451" sldId="2146846844"/>
            <ac:spMk id="5" creationId="{BCDEC535-7E3A-FE76-6A95-6077FF45D700}"/>
          </ac:spMkLst>
        </pc:spChg>
      </pc:sldChg>
      <pc:sldChg chg="addSp modSp">
        <pc:chgData name="Casati, Alessio (Nokia - GB)" userId="S::alessio.casati@nokia.com::6f050b0a-bf61-49f1-93be-076af52cf2e7" providerId="AD" clId="Web-{1B820435-A104-6A0A-EDE9-5099526F3735}" dt="2022-09-02T14:02:50.788" v="183" actId="20577"/>
        <pc:sldMkLst>
          <pc:docMk/>
          <pc:sldMk cId="1458889007" sldId="2146846846"/>
        </pc:sldMkLst>
        <pc:spChg chg="add mod">
          <ac:chgData name="Casati, Alessio (Nokia - GB)" userId="S::alessio.casati@nokia.com::6f050b0a-bf61-49f1-93be-076af52cf2e7" providerId="AD" clId="Web-{1B820435-A104-6A0A-EDE9-5099526F3735}" dt="2022-09-02T14:02:50.788" v="183" actId="20577"/>
          <ac:spMkLst>
            <pc:docMk/>
            <pc:sldMk cId="1458889007" sldId="2146846846"/>
            <ac:spMk id="5" creationId="{0C804294-7343-7D16-D01C-4130A85D2CB2}"/>
          </ac:spMkLst>
        </pc:spChg>
      </pc:sldChg>
      <pc:sldChg chg="modSp add replId">
        <pc:chgData name="Casati, Alessio (Nokia - GB)" userId="S::alessio.casati@nokia.com::6f050b0a-bf61-49f1-93be-076af52cf2e7" providerId="AD" clId="Web-{1B820435-A104-6A0A-EDE9-5099526F3735}" dt="2022-09-02T13:59:50.417" v="149" actId="20577"/>
        <pc:sldMkLst>
          <pc:docMk/>
          <pc:sldMk cId="2047454418" sldId="2146846898"/>
        </pc:sldMkLst>
        <pc:spChg chg="mod">
          <ac:chgData name="Casati, Alessio (Nokia - GB)" userId="S::alessio.casati@nokia.com::6f050b0a-bf61-49f1-93be-076af52cf2e7" providerId="AD" clId="Web-{1B820435-A104-6A0A-EDE9-5099526F3735}" dt="2022-09-02T13:59:50.417" v="149" actId="20577"/>
          <ac:spMkLst>
            <pc:docMk/>
            <pc:sldMk cId="2047454418" sldId="2146846898"/>
            <ac:spMk id="4" creationId="{CD72C33D-DF40-4601-AF02-8DFD5A6EA958}"/>
          </ac:spMkLst>
        </pc:spChg>
      </pc:sldChg>
      <pc:sldChg chg="addSp modSp add replId">
        <pc:chgData name="Casati, Alessio (Nokia - GB)" userId="S::alessio.casati@nokia.com::6f050b0a-bf61-49f1-93be-076af52cf2e7" providerId="AD" clId="Web-{1B820435-A104-6A0A-EDE9-5099526F3735}" dt="2022-09-02T14:04:59.906" v="212" actId="1076"/>
        <pc:sldMkLst>
          <pc:docMk/>
          <pc:sldMk cId="3041627190" sldId="2146846899"/>
        </pc:sldMkLst>
        <pc:spChg chg="add mod">
          <ac:chgData name="Casati, Alessio (Nokia - GB)" userId="S::alessio.casati@nokia.com::6f050b0a-bf61-49f1-93be-076af52cf2e7" providerId="AD" clId="Web-{1B820435-A104-6A0A-EDE9-5099526F3735}" dt="2022-09-02T14:04:59.906" v="212" actId="1076"/>
          <ac:spMkLst>
            <pc:docMk/>
            <pc:sldMk cId="3041627190" sldId="2146846899"/>
            <ac:spMk id="5" creationId="{63DB5D52-4DA2-D36C-796A-324FAF936C47}"/>
          </ac:spMkLst>
        </pc:spChg>
      </pc:sldChg>
      <pc:sldChg chg="add del replId">
        <pc:chgData name="Casati, Alessio (Nokia - GB)" userId="S::alessio.casati@nokia.com::6f050b0a-bf61-49f1-93be-076af52cf2e7" providerId="AD" clId="Web-{1B820435-A104-6A0A-EDE9-5099526F3735}" dt="2022-09-02T14:06:50.554" v="237"/>
        <pc:sldMkLst>
          <pc:docMk/>
          <pc:sldMk cId="958026321" sldId="2146846900"/>
        </pc:sldMkLst>
      </pc:sldChg>
      <pc:sldChg chg="modSp add replId">
        <pc:chgData name="Casati, Alessio (Nokia - GB)" userId="S::alessio.casati@nokia.com::6f050b0a-bf61-49f1-93be-076af52cf2e7" providerId="AD" clId="Web-{1B820435-A104-6A0A-EDE9-5099526F3735}" dt="2022-09-02T14:02:31.427" v="176" actId="20577"/>
        <pc:sldMkLst>
          <pc:docMk/>
          <pc:sldMk cId="3865628529" sldId="2146846901"/>
        </pc:sldMkLst>
        <pc:spChg chg="mod">
          <ac:chgData name="Casati, Alessio (Nokia - GB)" userId="S::alessio.casati@nokia.com::6f050b0a-bf61-49f1-93be-076af52cf2e7" providerId="AD" clId="Web-{1B820435-A104-6A0A-EDE9-5099526F3735}" dt="2022-09-02T14:02:31.427" v="176" actId="20577"/>
          <ac:spMkLst>
            <pc:docMk/>
            <pc:sldMk cId="3865628529" sldId="2146846901"/>
            <ac:spMk id="5" creationId="{0C804294-7343-7D16-D01C-4130A85D2CB2}"/>
          </ac:spMkLst>
        </pc:spChg>
      </pc:sldChg>
      <pc:sldChg chg="add del replId">
        <pc:chgData name="Casati, Alessio (Nokia - GB)" userId="S::alessio.casati@nokia.com::6f050b0a-bf61-49f1-93be-076af52cf2e7" providerId="AD" clId="Web-{1B820435-A104-6A0A-EDE9-5099526F3735}" dt="2022-09-02T14:06:49.382" v="236"/>
        <pc:sldMkLst>
          <pc:docMk/>
          <pc:sldMk cId="2087882630" sldId="2146846902"/>
        </pc:sldMkLst>
      </pc:sldChg>
      <pc:sldChg chg="modSp add replId">
        <pc:chgData name="Casati, Alessio (Nokia - GB)" userId="S::alessio.casati@nokia.com::6f050b0a-bf61-49f1-93be-076af52cf2e7" providerId="AD" clId="Web-{1B820435-A104-6A0A-EDE9-5099526F3735}" dt="2022-09-02T14:05:53.112" v="231" actId="20577"/>
        <pc:sldMkLst>
          <pc:docMk/>
          <pc:sldMk cId="3880470175" sldId="2146846903"/>
        </pc:sldMkLst>
        <pc:spChg chg="mod">
          <ac:chgData name="Casati, Alessio (Nokia - GB)" userId="S::alessio.casati@nokia.com::6f050b0a-bf61-49f1-93be-076af52cf2e7" providerId="AD" clId="Web-{1B820435-A104-6A0A-EDE9-5099526F3735}" dt="2022-09-02T14:05:53.112" v="231" actId="20577"/>
          <ac:spMkLst>
            <pc:docMk/>
            <pc:sldMk cId="3880470175" sldId="2146846903"/>
            <ac:spMk id="5" creationId="{63DB5D52-4DA2-D36C-796A-324FAF936C47}"/>
          </ac:spMkLst>
        </pc:spChg>
      </pc:sldChg>
      <pc:sldChg chg="modSp add replId">
        <pc:chgData name="Casati, Alessio (Nokia - GB)" userId="S::alessio.casati@nokia.com::6f050b0a-bf61-49f1-93be-076af52cf2e7" providerId="AD" clId="Web-{1B820435-A104-6A0A-EDE9-5099526F3735}" dt="2022-09-02T14:06:04.426" v="235" actId="20577"/>
        <pc:sldMkLst>
          <pc:docMk/>
          <pc:sldMk cId="2281785341" sldId="2146846904"/>
        </pc:sldMkLst>
        <pc:spChg chg="mod">
          <ac:chgData name="Casati, Alessio (Nokia - GB)" userId="S::alessio.casati@nokia.com::6f050b0a-bf61-49f1-93be-076af52cf2e7" providerId="AD" clId="Web-{1B820435-A104-6A0A-EDE9-5099526F3735}" dt="2022-09-02T14:06:04.426" v="235" actId="20577"/>
          <ac:spMkLst>
            <pc:docMk/>
            <pc:sldMk cId="2281785341" sldId="2146846904"/>
            <ac:spMk id="5" creationId="{63DB5D52-4DA2-D36C-796A-324FAF936C47}"/>
          </ac:spMkLst>
        </pc:spChg>
      </pc:sldChg>
      <pc:sldChg chg="addSp delSp modSp add replId">
        <pc:chgData name="Casati, Alessio (Nokia - GB)" userId="S::alessio.casati@nokia.com::6f050b0a-bf61-49f1-93be-076af52cf2e7" providerId="AD" clId="Web-{1B820435-A104-6A0A-EDE9-5099526F3735}" dt="2022-09-02T14:19:57.886" v="336" actId="20577"/>
        <pc:sldMkLst>
          <pc:docMk/>
          <pc:sldMk cId="406647837" sldId="2146846905"/>
        </pc:sldMkLst>
        <pc:spChg chg="add del mod">
          <ac:chgData name="Casati, Alessio (Nokia - GB)" userId="S::alessio.casati@nokia.com::6f050b0a-bf61-49f1-93be-076af52cf2e7" providerId="AD" clId="Web-{1B820435-A104-6A0A-EDE9-5099526F3735}" dt="2022-09-02T14:16:58.593" v="308"/>
          <ac:spMkLst>
            <pc:docMk/>
            <pc:sldMk cId="406647837" sldId="2146846905"/>
            <ac:spMk id="5" creationId="{B459398F-56CE-0B8B-3CEF-2A44D95B5BAC}"/>
          </ac:spMkLst>
        </pc:spChg>
        <pc:spChg chg="add mod">
          <ac:chgData name="Casati, Alessio (Nokia - GB)" userId="S::alessio.casati@nokia.com::6f050b0a-bf61-49f1-93be-076af52cf2e7" providerId="AD" clId="Web-{1B820435-A104-6A0A-EDE9-5099526F3735}" dt="2022-09-02T14:19:57.886" v="336" actId="20577"/>
          <ac:spMkLst>
            <pc:docMk/>
            <pc:sldMk cId="406647837" sldId="2146846905"/>
            <ac:spMk id="6" creationId="{F9E5DC83-08AE-B38E-B1F8-610312A8D0EE}"/>
          </ac:spMkLst>
        </pc:spChg>
      </pc:sldChg>
      <pc:sldChg chg="modSp add replId">
        <pc:chgData name="Casati, Alessio (Nokia - GB)" userId="S::alessio.casati@nokia.com::6f050b0a-bf61-49f1-93be-076af52cf2e7" providerId="AD" clId="Web-{1B820435-A104-6A0A-EDE9-5099526F3735}" dt="2022-09-02T14:20:06.793" v="339" actId="20577"/>
        <pc:sldMkLst>
          <pc:docMk/>
          <pc:sldMk cId="1879444782" sldId="2146846906"/>
        </pc:sldMkLst>
        <pc:spChg chg="mod">
          <ac:chgData name="Casati, Alessio (Nokia - GB)" userId="S::alessio.casati@nokia.com::6f050b0a-bf61-49f1-93be-076af52cf2e7" providerId="AD" clId="Web-{1B820435-A104-6A0A-EDE9-5099526F3735}" dt="2022-09-02T14:20:06.793" v="339" actId="20577"/>
          <ac:spMkLst>
            <pc:docMk/>
            <pc:sldMk cId="1879444782" sldId="2146846906"/>
            <ac:spMk id="6" creationId="{F9E5DC83-08AE-B38E-B1F8-610312A8D0EE}"/>
          </ac:spMkLst>
        </pc:spChg>
      </pc:sldChg>
    </pc:docChg>
  </pc:docChgLst>
  <pc:docChgLst>
    <pc:chgData name="Chandramouli, Devaki (Nokia - US/Dallas)" userId="S::devaki.chandramouli@nokia.com::ebf2a9f8-651b-4485-926f-9d93c0eafbc5" providerId="AD" clId="Web-{AB79EDA6-D059-E246-464E-DA45D63ABFDB}"/>
    <pc:docChg chg="modSld">
      <pc:chgData name="Chandramouli, Devaki (Nokia - US/Dallas)" userId="S::devaki.chandramouli@nokia.com::ebf2a9f8-651b-4485-926f-9d93c0eafbc5" providerId="AD" clId="Web-{AB79EDA6-D059-E246-464E-DA45D63ABFDB}" dt="2021-11-30T00:12:14.852" v="397" actId="20577"/>
      <pc:docMkLst>
        <pc:docMk/>
      </pc:docMkLst>
      <pc:sldChg chg="modSp">
        <pc:chgData name="Chandramouli, Devaki (Nokia - US/Dallas)" userId="S::devaki.chandramouli@nokia.com::ebf2a9f8-651b-4485-926f-9d93c0eafbc5" providerId="AD" clId="Web-{AB79EDA6-D059-E246-464E-DA45D63ABFDB}" dt="2021-11-30T00:12:14.852" v="397" actId="20577"/>
        <pc:sldMkLst>
          <pc:docMk/>
          <pc:sldMk cId="3431728892" sldId="2134805540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30T00:12:14.852" v="397" actId="20577"/>
          <ac:spMkLst>
            <pc:docMk/>
            <pc:sldMk cId="3431728892" sldId="2134805540"/>
            <ac:spMk id="4" creationId="{CD72C33D-DF40-4601-AF02-8DFD5A6EA958}"/>
          </ac:spMkLst>
        </pc:spChg>
      </pc:sldChg>
      <pc:sldChg chg="modSp">
        <pc:chgData name="Chandramouli, Devaki (Nokia - US/Dallas)" userId="S::devaki.chandramouli@nokia.com::ebf2a9f8-651b-4485-926f-9d93c0eafbc5" providerId="AD" clId="Web-{AB79EDA6-D059-E246-464E-DA45D63ABFDB}" dt="2021-11-29T23:52:43.508" v="367" actId="20577"/>
        <pc:sldMkLst>
          <pc:docMk/>
          <pc:sldMk cId="4008632245" sldId="2134805565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29T23:52:43.508" v="367" actId="20577"/>
          <ac:spMkLst>
            <pc:docMk/>
            <pc:sldMk cId="4008632245" sldId="2134805565"/>
            <ac:spMk id="4" creationId="{CD72C33D-DF40-4601-AF02-8DFD5A6EA958}"/>
          </ac:spMkLst>
        </pc:spChg>
      </pc:sldChg>
      <pc:sldChg chg="modSp">
        <pc:chgData name="Chandramouli, Devaki (Nokia - US/Dallas)" userId="S::devaki.chandramouli@nokia.com::ebf2a9f8-651b-4485-926f-9d93c0eafbc5" providerId="AD" clId="Web-{AB79EDA6-D059-E246-464E-DA45D63ABFDB}" dt="2021-11-30T00:09:19.206" v="387" actId="20577"/>
        <pc:sldMkLst>
          <pc:docMk/>
          <pc:sldMk cId="1411221200" sldId="2134805566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30T00:09:19.206" v="387" actId="20577"/>
          <ac:spMkLst>
            <pc:docMk/>
            <pc:sldMk cId="1411221200" sldId="2134805566"/>
            <ac:spMk id="4" creationId="{CD72C33D-DF40-4601-AF02-8DFD5A6EA958}"/>
          </ac:spMkLst>
        </pc:spChg>
      </pc:sldChg>
      <pc:sldChg chg="modSp">
        <pc:chgData name="Chandramouli, Devaki (Nokia - US/Dallas)" userId="S::devaki.chandramouli@nokia.com::ebf2a9f8-651b-4485-926f-9d93c0eafbc5" providerId="AD" clId="Web-{AB79EDA6-D059-E246-464E-DA45D63ABFDB}" dt="2021-11-30T00:09:59.036" v="389" actId="20577"/>
        <pc:sldMkLst>
          <pc:docMk/>
          <pc:sldMk cId="3055462933" sldId="2134805570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30T00:09:59.036" v="389" actId="20577"/>
          <ac:spMkLst>
            <pc:docMk/>
            <pc:sldMk cId="3055462933" sldId="2134805570"/>
            <ac:spMk id="4" creationId="{CD72C33D-DF40-4601-AF02-8DFD5A6EA958}"/>
          </ac:spMkLst>
        </pc:spChg>
      </pc:sldChg>
      <pc:sldChg chg="modSp">
        <pc:chgData name="Chandramouli, Devaki (Nokia - US/Dallas)" userId="S::devaki.chandramouli@nokia.com::ebf2a9f8-651b-4485-926f-9d93c0eafbc5" providerId="AD" clId="Web-{AB79EDA6-D059-E246-464E-DA45D63ABFDB}" dt="2021-11-30T00:11:54.710" v="394" actId="20577"/>
        <pc:sldMkLst>
          <pc:docMk/>
          <pc:sldMk cId="4241914170" sldId="2134805571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30T00:11:54.710" v="394" actId="20577"/>
          <ac:spMkLst>
            <pc:docMk/>
            <pc:sldMk cId="4241914170" sldId="2134805571"/>
            <ac:spMk id="4" creationId="{CD72C33D-DF40-4601-AF02-8DFD5A6EA958}"/>
          </ac:spMkLst>
        </pc:spChg>
      </pc:sldChg>
      <pc:sldChg chg="modSp">
        <pc:chgData name="Chandramouli, Devaki (Nokia - US/Dallas)" userId="S::devaki.chandramouli@nokia.com::ebf2a9f8-651b-4485-926f-9d93c0eafbc5" providerId="AD" clId="Web-{AB79EDA6-D059-E246-464E-DA45D63ABFDB}" dt="2021-11-30T00:11:37.929" v="392" actId="20577"/>
        <pc:sldMkLst>
          <pc:docMk/>
          <pc:sldMk cId="773025891" sldId="2134805572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30T00:11:37.929" v="392" actId="20577"/>
          <ac:spMkLst>
            <pc:docMk/>
            <pc:sldMk cId="773025891" sldId="2134805572"/>
            <ac:spMk id="4" creationId="{CD72C33D-DF40-4601-AF02-8DFD5A6EA958}"/>
          </ac:spMkLst>
        </pc:spChg>
      </pc:sldChg>
      <pc:sldChg chg="addSp modSp">
        <pc:chgData name="Chandramouli, Devaki (Nokia - US/Dallas)" userId="S::devaki.chandramouli@nokia.com::ebf2a9f8-651b-4485-926f-9d93c0eafbc5" providerId="AD" clId="Web-{AB79EDA6-D059-E246-464E-DA45D63ABFDB}" dt="2021-11-29T23:51:37.382" v="366" actId="1076"/>
        <pc:sldMkLst>
          <pc:docMk/>
          <pc:sldMk cId="3329606578" sldId="2134805582"/>
        </pc:sldMkLst>
        <pc:spChg chg="add mod">
          <ac:chgData name="Chandramouli, Devaki (Nokia - US/Dallas)" userId="S::devaki.chandramouli@nokia.com::ebf2a9f8-651b-4485-926f-9d93c0eafbc5" providerId="AD" clId="Web-{AB79EDA6-D059-E246-464E-DA45D63ABFDB}" dt="2021-11-29T23:51:37.382" v="366" actId="1076"/>
          <ac:spMkLst>
            <pc:docMk/>
            <pc:sldMk cId="3329606578" sldId="2134805582"/>
            <ac:spMk id="6" creationId="{ABDD8067-9B33-4DB7-8547-A97D17E32732}"/>
          </ac:spMkLst>
        </pc:spChg>
      </pc:sldChg>
      <pc:sldChg chg="modSp">
        <pc:chgData name="Chandramouli, Devaki (Nokia - US/Dallas)" userId="S::devaki.chandramouli@nokia.com::ebf2a9f8-651b-4485-926f-9d93c0eafbc5" providerId="AD" clId="Web-{AB79EDA6-D059-E246-464E-DA45D63ABFDB}" dt="2021-11-29T23:57:46.516" v="369" actId="20577"/>
        <pc:sldMkLst>
          <pc:docMk/>
          <pc:sldMk cId="374592939" sldId="2134805583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29T23:57:46.516" v="369" actId="20577"/>
          <ac:spMkLst>
            <pc:docMk/>
            <pc:sldMk cId="374592939" sldId="2134805583"/>
            <ac:spMk id="4" creationId="{CD72C33D-DF40-4601-AF02-8DFD5A6EA958}"/>
          </ac:spMkLst>
        </pc:spChg>
      </pc:sldChg>
      <pc:sldChg chg="modSp">
        <pc:chgData name="Chandramouli, Devaki (Nokia - US/Dallas)" userId="S::devaki.chandramouli@nokia.com::ebf2a9f8-651b-4485-926f-9d93c0eafbc5" providerId="AD" clId="Web-{AB79EDA6-D059-E246-464E-DA45D63ABFDB}" dt="2021-11-29T23:57:55.720" v="371" actId="20577"/>
        <pc:sldMkLst>
          <pc:docMk/>
          <pc:sldMk cId="2969031349" sldId="2134805584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29T23:57:55.720" v="371" actId="20577"/>
          <ac:spMkLst>
            <pc:docMk/>
            <pc:sldMk cId="2969031349" sldId="2134805584"/>
            <ac:spMk id="4" creationId="{CD72C33D-DF40-4601-AF02-8DFD5A6EA958}"/>
          </ac:spMkLst>
        </pc:spChg>
      </pc:sldChg>
      <pc:sldChg chg="modSp">
        <pc:chgData name="Chandramouli, Devaki (Nokia - US/Dallas)" userId="S::devaki.chandramouli@nokia.com::ebf2a9f8-651b-4485-926f-9d93c0eafbc5" providerId="AD" clId="Web-{AB79EDA6-D059-E246-464E-DA45D63ABFDB}" dt="2021-11-30T00:08:45.252" v="383" actId="20577"/>
        <pc:sldMkLst>
          <pc:docMk/>
          <pc:sldMk cId="2133542744" sldId="2134805585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30T00:08:45.252" v="383" actId="20577"/>
          <ac:spMkLst>
            <pc:docMk/>
            <pc:sldMk cId="2133542744" sldId="2134805585"/>
            <ac:spMk id="4" creationId="{CD72C33D-DF40-4601-AF02-8DFD5A6EA958}"/>
          </ac:spMkLst>
        </pc:spChg>
      </pc:sldChg>
      <pc:sldChg chg="modSp">
        <pc:chgData name="Chandramouli, Devaki (Nokia - US/Dallas)" userId="S::devaki.chandramouli@nokia.com::ebf2a9f8-651b-4485-926f-9d93c0eafbc5" providerId="AD" clId="Web-{AB79EDA6-D059-E246-464E-DA45D63ABFDB}" dt="2021-11-30T00:09:05.722" v="386" actId="20577"/>
        <pc:sldMkLst>
          <pc:docMk/>
          <pc:sldMk cId="1819896102" sldId="2134805586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30T00:09:05.722" v="386" actId="20577"/>
          <ac:spMkLst>
            <pc:docMk/>
            <pc:sldMk cId="1819896102" sldId="2134805586"/>
            <ac:spMk id="4" creationId="{CD72C33D-DF40-4601-AF02-8DFD5A6EA958}"/>
          </ac:spMkLst>
        </pc:spChg>
      </pc:sldChg>
      <pc:sldChg chg="delSp modSp">
        <pc:chgData name="Chandramouli, Devaki (Nokia - US/Dallas)" userId="S::devaki.chandramouli@nokia.com::ebf2a9f8-651b-4485-926f-9d93c0eafbc5" providerId="AD" clId="Web-{AB79EDA6-D059-E246-464E-DA45D63ABFDB}" dt="2021-11-29T23:58:11.564" v="375"/>
        <pc:sldMkLst>
          <pc:docMk/>
          <pc:sldMk cId="681358297" sldId="2134805587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29T23:58:07.532" v="374" actId="20577"/>
          <ac:spMkLst>
            <pc:docMk/>
            <pc:sldMk cId="681358297" sldId="2134805587"/>
            <ac:spMk id="4" creationId="{CD72C33D-DF40-4601-AF02-8DFD5A6EA958}"/>
          </ac:spMkLst>
        </pc:spChg>
        <pc:spChg chg="del">
          <ac:chgData name="Chandramouli, Devaki (Nokia - US/Dallas)" userId="S::devaki.chandramouli@nokia.com::ebf2a9f8-651b-4485-926f-9d93c0eafbc5" providerId="AD" clId="Web-{AB79EDA6-D059-E246-464E-DA45D63ABFDB}" dt="2021-11-29T23:58:11.564" v="375"/>
          <ac:spMkLst>
            <pc:docMk/>
            <pc:sldMk cId="681358297" sldId="2134805587"/>
            <ac:spMk id="7" creationId="{C8DA2129-E52F-4F4F-A4EC-6FA2CEC5760A}"/>
          </ac:spMkLst>
        </pc:spChg>
      </pc:sldChg>
      <pc:sldChg chg="modSp">
        <pc:chgData name="Chandramouli, Devaki (Nokia - US/Dallas)" userId="S::devaki.chandramouli@nokia.com::ebf2a9f8-651b-4485-926f-9d93c0eafbc5" providerId="AD" clId="Web-{AB79EDA6-D059-E246-464E-DA45D63ABFDB}" dt="2021-11-30T00:08:26.486" v="379" actId="20577"/>
        <pc:sldMkLst>
          <pc:docMk/>
          <pc:sldMk cId="708409047" sldId="2134805588"/>
        </pc:sldMkLst>
        <pc:spChg chg="mod">
          <ac:chgData name="Chandramouli, Devaki (Nokia - US/Dallas)" userId="S::devaki.chandramouli@nokia.com::ebf2a9f8-651b-4485-926f-9d93c0eafbc5" providerId="AD" clId="Web-{AB79EDA6-D059-E246-464E-DA45D63ABFDB}" dt="2021-11-30T00:08:26.486" v="379" actId="20577"/>
          <ac:spMkLst>
            <pc:docMk/>
            <pc:sldMk cId="708409047" sldId="2134805588"/>
            <ac:spMk id="4" creationId="{CD72C33D-DF40-4601-AF02-8DFD5A6EA958}"/>
          </ac:spMkLst>
        </pc:spChg>
      </pc:sldChg>
    </pc:docChg>
  </pc:docChgLst>
  <pc:docChgLst>
    <pc:chgData name="Lair, Yannick (Nokia - FR/Paris-Saclay)" userId="S::yannick.lair@nokia.com::e0601b81-de45-4b0d-b7c3-b06e9080ce2c" providerId="AD" clId="Web-{C0C565C9-4FDD-0146-B648-5A3ECD752E12}"/>
    <pc:docChg chg="addSld delSld modSld">
      <pc:chgData name="Lair, Yannick (Nokia - FR/Paris-Saclay)" userId="S::yannick.lair@nokia.com::e0601b81-de45-4b0d-b7c3-b06e9080ce2c" providerId="AD" clId="Web-{C0C565C9-4FDD-0146-B648-5A3ECD752E12}" dt="2020-06-23T09:02:08.778" v="358"/>
      <pc:docMkLst>
        <pc:docMk/>
      </pc:docMkLst>
      <pc:sldChg chg="modSp">
        <pc:chgData name="Lair, Yannick (Nokia - FR/Paris-Saclay)" userId="S::yannick.lair@nokia.com::e0601b81-de45-4b0d-b7c3-b06e9080ce2c" providerId="AD" clId="Web-{C0C565C9-4FDD-0146-B648-5A3ECD752E12}" dt="2020-06-23T08:58:17.765" v="325" actId="20577"/>
        <pc:sldMkLst>
          <pc:docMk/>
          <pc:sldMk cId="1114665910" sldId="354"/>
        </pc:sldMkLst>
        <pc:spChg chg="mod">
          <ac:chgData name="Lair, Yannick (Nokia - FR/Paris-Saclay)" userId="S::yannick.lair@nokia.com::e0601b81-de45-4b0d-b7c3-b06e9080ce2c" providerId="AD" clId="Web-{C0C565C9-4FDD-0146-B648-5A3ECD752E12}" dt="2020-06-23T08:58:17.765" v="325" actId="20577"/>
          <ac:spMkLst>
            <pc:docMk/>
            <pc:sldMk cId="1114665910" sldId="354"/>
            <ac:spMk id="4" creationId="{5C8D5078-B8D0-4095-8466-64F7613FE8A6}"/>
          </ac:spMkLst>
        </pc:spChg>
      </pc:sldChg>
      <pc:sldChg chg="modSp add del replId">
        <pc:chgData name="Lair, Yannick (Nokia - FR/Paris-Saclay)" userId="S::yannick.lair@nokia.com::e0601b81-de45-4b0d-b7c3-b06e9080ce2c" providerId="AD" clId="Web-{C0C565C9-4FDD-0146-B648-5A3ECD752E12}" dt="2020-06-23T08:57:26.719" v="321"/>
        <pc:sldMkLst>
          <pc:docMk/>
          <pc:sldMk cId="641020787" sldId="386"/>
        </pc:sldMkLst>
        <pc:spChg chg="mod">
          <ac:chgData name="Lair, Yannick (Nokia - FR/Paris-Saclay)" userId="S::yannick.lair@nokia.com::e0601b81-de45-4b0d-b7c3-b06e9080ce2c" providerId="AD" clId="Web-{C0C565C9-4FDD-0146-B648-5A3ECD752E12}" dt="2020-06-23T08:57:24.891" v="320" actId="20577"/>
          <ac:spMkLst>
            <pc:docMk/>
            <pc:sldMk cId="641020787" sldId="386"/>
            <ac:spMk id="4" creationId="{5C8D5078-B8D0-4095-8466-64F7613FE8A6}"/>
          </ac:spMkLst>
        </pc:spChg>
      </pc:sldChg>
      <pc:sldChg chg="addSp delSp modSp add replId">
        <pc:chgData name="Lair, Yannick (Nokia - FR/Paris-Saclay)" userId="S::yannick.lair@nokia.com::e0601b81-de45-4b0d-b7c3-b06e9080ce2c" providerId="AD" clId="Web-{C0C565C9-4FDD-0146-B648-5A3ECD752E12}" dt="2020-06-23T09:02:08.778" v="358"/>
        <pc:sldMkLst>
          <pc:docMk/>
          <pc:sldMk cId="667601062" sldId="386"/>
        </pc:sldMkLst>
        <pc:spChg chg="mod">
          <ac:chgData name="Lair, Yannick (Nokia - FR/Paris-Saclay)" userId="S::yannick.lair@nokia.com::e0601b81-de45-4b0d-b7c3-b06e9080ce2c" providerId="AD" clId="Web-{C0C565C9-4FDD-0146-B648-5A3ECD752E12}" dt="2020-06-23T09:01:39.653" v="349" actId="20577"/>
          <ac:spMkLst>
            <pc:docMk/>
            <pc:sldMk cId="667601062" sldId="386"/>
            <ac:spMk id="4" creationId="{5C8D5078-B8D0-4095-8466-64F7613FE8A6}"/>
          </ac:spMkLst>
        </pc:spChg>
        <pc:spChg chg="add del mod">
          <ac:chgData name="Lair, Yannick (Nokia - FR/Paris-Saclay)" userId="S::yannick.lair@nokia.com::e0601b81-de45-4b0d-b7c3-b06e9080ce2c" providerId="AD" clId="Web-{C0C565C9-4FDD-0146-B648-5A3ECD752E12}" dt="2020-06-23T09:01:54.262" v="354"/>
          <ac:spMkLst>
            <pc:docMk/>
            <pc:sldMk cId="667601062" sldId="386"/>
            <ac:spMk id="5" creationId="{30D52EAF-6C6E-41E1-B2EE-2D4B345E2A47}"/>
          </ac:spMkLst>
        </pc:spChg>
        <pc:spChg chg="add del mod">
          <ac:chgData name="Lair, Yannick (Nokia - FR/Paris-Saclay)" userId="S::yannick.lair@nokia.com::e0601b81-de45-4b0d-b7c3-b06e9080ce2c" providerId="AD" clId="Web-{C0C565C9-4FDD-0146-B648-5A3ECD752E12}" dt="2020-06-23T09:02:08.778" v="358"/>
          <ac:spMkLst>
            <pc:docMk/>
            <pc:sldMk cId="667601062" sldId="386"/>
            <ac:spMk id="6" creationId="{FCB60E2C-3EF4-4909-A84C-030C7E1DA8C1}"/>
          </ac:spMkLst>
        </pc:spChg>
      </pc:sldChg>
    </pc:docChg>
  </pc:docChgLst>
  <pc:docChgLst>
    <pc:chgData name="Cai, Simon (NSB - CN/Chengdu)" userId="37152ebf-cb41-4a71-820f-4428dc623117" providerId="ADAL" clId="{CD5ECD8A-636A-4120-B8C5-01159C61DB0E}"/>
    <pc:docChg chg="undo custSel addSld delSld modSld">
      <pc:chgData name="Cai, Simon (NSB - CN/Chengdu)" userId="37152ebf-cb41-4a71-820f-4428dc623117" providerId="ADAL" clId="{CD5ECD8A-636A-4120-B8C5-01159C61DB0E}" dt="2022-06-09T21:27:31.449" v="797" actId="1076"/>
      <pc:docMkLst>
        <pc:docMk/>
      </pc:docMkLst>
      <pc:sldChg chg="modSp add del">
        <pc:chgData name="Cai, Simon (NSB - CN/Chengdu)" userId="37152ebf-cb41-4a71-820f-4428dc623117" providerId="ADAL" clId="{CD5ECD8A-636A-4120-B8C5-01159C61DB0E}" dt="2022-06-09T20:56:18" v="171" actId="47"/>
        <pc:sldMkLst>
          <pc:docMk/>
          <pc:sldMk cId="599823426" sldId="826"/>
        </pc:sldMkLst>
        <pc:spChg chg="mod">
          <ac:chgData name="Cai, Simon (NSB - CN/Chengdu)" userId="37152ebf-cb41-4a71-820f-4428dc623117" providerId="ADAL" clId="{CD5ECD8A-636A-4120-B8C5-01159C61DB0E}" dt="2022-06-09T20:45:43.996" v="0"/>
          <ac:spMkLst>
            <pc:docMk/>
            <pc:sldMk cId="599823426" sldId="826"/>
            <ac:spMk id="29698" creationId="{00000000-0000-0000-0000-000000000000}"/>
          </ac:spMkLst>
        </pc:spChg>
      </pc:sldChg>
      <pc:sldChg chg="modSp mod">
        <pc:chgData name="Cai, Simon (NSB - CN/Chengdu)" userId="37152ebf-cb41-4a71-820f-4428dc623117" providerId="ADAL" clId="{CD5ECD8A-636A-4120-B8C5-01159C61DB0E}" dt="2022-06-09T20:56:48.865" v="270" actId="20577"/>
        <pc:sldMkLst>
          <pc:docMk/>
          <pc:sldMk cId="3808526133" sldId="2146846805"/>
        </pc:sldMkLst>
        <pc:spChg chg="mod">
          <ac:chgData name="Cai, Simon (NSB - CN/Chengdu)" userId="37152ebf-cb41-4a71-820f-4428dc623117" providerId="ADAL" clId="{CD5ECD8A-636A-4120-B8C5-01159C61DB0E}" dt="2022-06-09T20:46:51.229" v="24" actId="20577"/>
          <ac:spMkLst>
            <pc:docMk/>
            <pc:sldMk cId="3808526133" sldId="2146846805"/>
            <ac:spMk id="3" creationId="{09574804-C02D-4C61-91C5-5B097BB8F073}"/>
          </ac:spMkLst>
        </pc:spChg>
        <pc:spChg chg="mod">
          <ac:chgData name="Cai, Simon (NSB - CN/Chengdu)" userId="37152ebf-cb41-4a71-820f-4428dc623117" providerId="ADAL" clId="{CD5ECD8A-636A-4120-B8C5-01159C61DB0E}" dt="2022-06-09T20:56:48.865" v="270" actId="20577"/>
          <ac:spMkLst>
            <pc:docMk/>
            <pc:sldMk cId="3808526133" sldId="2146846805"/>
            <ac:spMk id="4" creationId="{EE8F8129-6DFE-4C88-8770-3B754B94D0F9}"/>
          </ac:spMkLst>
        </pc:spChg>
      </pc:sldChg>
      <pc:sldChg chg="del">
        <pc:chgData name="Cai, Simon (NSB - CN/Chengdu)" userId="37152ebf-cb41-4a71-820f-4428dc623117" providerId="ADAL" clId="{CD5ECD8A-636A-4120-B8C5-01159C61DB0E}" dt="2022-06-09T20:49:51.764" v="169" actId="47"/>
        <pc:sldMkLst>
          <pc:docMk/>
          <pc:sldMk cId="3277035244" sldId="2146846806"/>
        </pc:sldMkLst>
      </pc:sldChg>
      <pc:sldChg chg="del">
        <pc:chgData name="Cai, Simon (NSB - CN/Chengdu)" userId="37152ebf-cb41-4a71-820f-4428dc623117" providerId="ADAL" clId="{CD5ECD8A-636A-4120-B8C5-01159C61DB0E}" dt="2022-06-09T20:49:51.764" v="169" actId="47"/>
        <pc:sldMkLst>
          <pc:docMk/>
          <pc:sldMk cId="2703188842" sldId="2146846807"/>
        </pc:sldMkLst>
      </pc:sldChg>
      <pc:sldChg chg="del">
        <pc:chgData name="Cai, Simon (NSB - CN/Chengdu)" userId="37152ebf-cb41-4a71-820f-4428dc623117" providerId="ADAL" clId="{CD5ECD8A-636A-4120-B8C5-01159C61DB0E}" dt="2022-06-09T20:49:51.764" v="169" actId="47"/>
        <pc:sldMkLst>
          <pc:docMk/>
          <pc:sldMk cId="1201349032" sldId="2146846808"/>
        </pc:sldMkLst>
      </pc:sldChg>
      <pc:sldChg chg="del">
        <pc:chgData name="Cai, Simon (NSB - CN/Chengdu)" userId="37152ebf-cb41-4a71-820f-4428dc623117" providerId="ADAL" clId="{CD5ECD8A-636A-4120-B8C5-01159C61DB0E}" dt="2022-06-09T20:49:51.764" v="169" actId="47"/>
        <pc:sldMkLst>
          <pc:docMk/>
          <pc:sldMk cId="1577089045" sldId="2146846809"/>
        </pc:sldMkLst>
      </pc:sldChg>
      <pc:sldChg chg="del">
        <pc:chgData name="Cai, Simon (NSB - CN/Chengdu)" userId="37152ebf-cb41-4a71-820f-4428dc623117" providerId="ADAL" clId="{CD5ECD8A-636A-4120-B8C5-01159C61DB0E}" dt="2022-06-09T20:49:51.764" v="169" actId="47"/>
        <pc:sldMkLst>
          <pc:docMk/>
          <pc:sldMk cId="3689742044" sldId="2146846810"/>
        </pc:sldMkLst>
      </pc:sldChg>
      <pc:sldChg chg="del">
        <pc:chgData name="Cai, Simon (NSB - CN/Chengdu)" userId="37152ebf-cb41-4a71-820f-4428dc623117" providerId="ADAL" clId="{CD5ECD8A-636A-4120-B8C5-01159C61DB0E}" dt="2022-06-09T20:49:51.764" v="169" actId="47"/>
        <pc:sldMkLst>
          <pc:docMk/>
          <pc:sldMk cId="1362171089" sldId="2146846811"/>
        </pc:sldMkLst>
      </pc:sldChg>
      <pc:sldChg chg="del">
        <pc:chgData name="Cai, Simon (NSB - CN/Chengdu)" userId="37152ebf-cb41-4a71-820f-4428dc623117" providerId="ADAL" clId="{CD5ECD8A-636A-4120-B8C5-01159C61DB0E}" dt="2022-06-09T20:49:51.764" v="169" actId="47"/>
        <pc:sldMkLst>
          <pc:docMk/>
          <pc:sldMk cId="824842090" sldId="2146846812"/>
        </pc:sldMkLst>
      </pc:sldChg>
      <pc:sldChg chg="del">
        <pc:chgData name="Cai, Simon (NSB - CN/Chengdu)" userId="37152ebf-cb41-4a71-820f-4428dc623117" providerId="ADAL" clId="{CD5ECD8A-636A-4120-B8C5-01159C61DB0E}" dt="2022-06-09T21:17:40.124" v="639" actId="47"/>
        <pc:sldMkLst>
          <pc:docMk/>
          <pc:sldMk cId="3401332451" sldId="2146846813"/>
        </pc:sldMkLst>
      </pc:sldChg>
      <pc:sldChg chg="add">
        <pc:chgData name="Cai, Simon (NSB - CN/Chengdu)" userId="37152ebf-cb41-4a71-820f-4428dc623117" providerId="ADAL" clId="{CD5ECD8A-636A-4120-B8C5-01159C61DB0E}" dt="2022-06-09T20:50:07.859" v="170"/>
        <pc:sldMkLst>
          <pc:docMk/>
          <pc:sldMk cId="2361630666" sldId="2146846871"/>
        </pc:sldMkLst>
      </pc:sldChg>
      <pc:sldChg chg="modSp new mod">
        <pc:chgData name="Cai, Simon (NSB - CN/Chengdu)" userId="37152ebf-cb41-4a71-820f-4428dc623117" providerId="ADAL" clId="{CD5ECD8A-636A-4120-B8C5-01159C61DB0E}" dt="2022-06-09T20:58:30.840" v="315" actId="20577"/>
        <pc:sldMkLst>
          <pc:docMk/>
          <pc:sldMk cId="61712652" sldId="2146846872"/>
        </pc:sldMkLst>
        <pc:spChg chg="mod">
          <ac:chgData name="Cai, Simon (NSB - CN/Chengdu)" userId="37152ebf-cb41-4a71-820f-4428dc623117" providerId="ADAL" clId="{CD5ECD8A-636A-4120-B8C5-01159C61DB0E}" dt="2022-06-09T20:58:30.840" v="315" actId="20577"/>
          <ac:spMkLst>
            <pc:docMk/>
            <pc:sldMk cId="61712652" sldId="2146846872"/>
            <ac:spMk id="3" creationId="{7DE4DEAA-2B2C-4164-840F-2DFF80E788F5}"/>
          </ac:spMkLst>
        </pc:spChg>
        <pc:spChg chg="mod">
          <ac:chgData name="Cai, Simon (NSB - CN/Chengdu)" userId="37152ebf-cb41-4a71-820f-4428dc623117" providerId="ADAL" clId="{CD5ECD8A-636A-4120-B8C5-01159C61DB0E}" dt="2022-06-09T20:58:20.185" v="288" actId="27636"/>
          <ac:spMkLst>
            <pc:docMk/>
            <pc:sldMk cId="61712652" sldId="2146846872"/>
            <ac:spMk id="4" creationId="{D100C8F9-2BFE-443C-8318-5E6AE3C3214D}"/>
          </ac:spMkLst>
        </pc:spChg>
      </pc:sldChg>
      <pc:sldChg chg="addSp delSp modSp new mod">
        <pc:chgData name="Cai, Simon (NSB - CN/Chengdu)" userId="37152ebf-cb41-4a71-820f-4428dc623117" providerId="ADAL" clId="{CD5ECD8A-636A-4120-B8C5-01159C61DB0E}" dt="2022-06-09T21:14:22.436" v="617" actId="20577"/>
        <pc:sldMkLst>
          <pc:docMk/>
          <pc:sldMk cId="3299742882" sldId="2146846873"/>
        </pc:sldMkLst>
        <pc:spChg chg="mod">
          <ac:chgData name="Cai, Simon (NSB - CN/Chengdu)" userId="37152ebf-cb41-4a71-820f-4428dc623117" providerId="ADAL" clId="{CD5ECD8A-636A-4120-B8C5-01159C61DB0E}" dt="2022-06-09T21:14:22.436" v="617" actId="20577"/>
          <ac:spMkLst>
            <pc:docMk/>
            <pc:sldMk cId="3299742882" sldId="2146846873"/>
            <ac:spMk id="3" creationId="{6814E155-93FB-44D3-B049-BD3877DA8E71}"/>
          </ac:spMkLst>
        </pc:spChg>
        <pc:spChg chg="mod">
          <ac:chgData name="Cai, Simon (NSB - CN/Chengdu)" userId="37152ebf-cb41-4a71-820f-4428dc623117" providerId="ADAL" clId="{CD5ECD8A-636A-4120-B8C5-01159C61DB0E}" dt="2022-06-09T21:01:37.662" v="338" actId="1076"/>
          <ac:spMkLst>
            <pc:docMk/>
            <pc:sldMk cId="3299742882" sldId="2146846873"/>
            <ac:spMk id="4" creationId="{4AF5DF34-1296-49E0-AC81-608F81EB5F30}"/>
          </ac:spMkLst>
        </pc:spChg>
        <pc:spChg chg="add del mod">
          <ac:chgData name="Cai, Simon (NSB - CN/Chengdu)" userId="37152ebf-cb41-4a71-820f-4428dc623117" providerId="ADAL" clId="{CD5ECD8A-636A-4120-B8C5-01159C61DB0E}" dt="2022-06-09T21:01:39.152" v="339"/>
          <ac:spMkLst>
            <pc:docMk/>
            <pc:sldMk cId="3299742882" sldId="2146846873"/>
            <ac:spMk id="7" creationId="{BCC68506-4932-4264-AE6E-33CFE9F53CB9}"/>
          </ac:spMkLst>
        </pc:spChg>
        <pc:spChg chg="add">
          <ac:chgData name="Cai, Simon (NSB - CN/Chengdu)" userId="37152ebf-cb41-4a71-820f-4428dc623117" providerId="ADAL" clId="{CD5ECD8A-636A-4120-B8C5-01159C61DB0E}" dt="2022-06-09T21:01:41.966" v="340"/>
          <ac:spMkLst>
            <pc:docMk/>
            <pc:sldMk cId="3299742882" sldId="2146846873"/>
            <ac:spMk id="9" creationId="{9F4D3136-0144-4156-89D0-B496F52C8410}"/>
          </ac:spMkLst>
        </pc:spChg>
        <pc:graphicFrameChg chg="add del mod">
          <ac:chgData name="Cai, Simon (NSB - CN/Chengdu)" userId="37152ebf-cb41-4a71-820f-4428dc623117" providerId="ADAL" clId="{CD5ECD8A-636A-4120-B8C5-01159C61DB0E}" dt="2022-06-09T21:01:39.152" v="339"/>
          <ac:graphicFrameMkLst>
            <pc:docMk/>
            <pc:sldMk cId="3299742882" sldId="2146846873"/>
            <ac:graphicFrameMk id="8" creationId="{D92774A0-9EC4-484F-BFBF-2DADAFA46F64}"/>
          </ac:graphicFrameMkLst>
        </pc:graphicFrameChg>
        <pc:graphicFrameChg chg="add mod">
          <ac:chgData name="Cai, Simon (NSB - CN/Chengdu)" userId="37152ebf-cb41-4a71-820f-4428dc623117" providerId="ADAL" clId="{CD5ECD8A-636A-4120-B8C5-01159C61DB0E}" dt="2022-06-09T21:01:51.261" v="341" actId="1076"/>
          <ac:graphicFrameMkLst>
            <pc:docMk/>
            <pc:sldMk cId="3299742882" sldId="2146846873"/>
            <ac:graphicFrameMk id="10" creationId="{C6C368FE-C9C4-41E0-9120-CE0535A11F7F}"/>
          </ac:graphicFrameMkLst>
        </pc:graphicFrameChg>
        <pc:picChg chg="add del">
          <ac:chgData name="Cai, Simon (NSB - CN/Chengdu)" userId="37152ebf-cb41-4a71-820f-4428dc623117" providerId="ADAL" clId="{CD5ECD8A-636A-4120-B8C5-01159C61DB0E}" dt="2022-06-09T21:00:33.093" v="325"/>
          <ac:picMkLst>
            <pc:docMk/>
            <pc:sldMk cId="3299742882" sldId="2146846873"/>
            <ac:picMk id="5" creationId="{672CB1E5-F7B3-4686-BCCC-7A507EA28201}"/>
          </ac:picMkLst>
        </pc:picChg>
        <pc:picChg chg="add mod">
          <ac:chgData name="Cai, Simon (NSB - CN/Chengdu)" userId="37152ebf-cb41-4a71-820f-4428dc623117" providerId="ADAL" clId="{CD5ECD8A-636A-4120-B8C5-01159C61DB0E}" dt="2022-06-09T21:01:11.221" v="331" actId="1076"/>
          <ac:picMkLst>
            <pc:docMk/>
            <pc:sldMk cId="3299742882" sldId="2146846873"/>
            <ac:picMk id="6" creationId="{77FCAAC7-5CF9-49EE-933C-B2519CC7EBBA}"/>
          </ac:picMkLst>
        </pc:picChg>
      </pc:sldChg>
      <pc:sldChg chg="modSp new mod">
        <pc:chgData name="Cai, Simon (NSB - CN/Chengdu)" userId="37152ebf-cb41-4a71-820f-4428dc623117" providerId="ADAL" clId="{CD5ECD8A-636A-4120-B8C5-01159C61DB0E}" dt="2022-06-09T21:14:44.625" v="619" actId="20577"/>
        <pc:sldMkLst>
          <pc:docMk/>
          <pc:sldMk cId="2835258899" sldId="2146846874"/>
        </pc:sldMkLst>
        <pc:spChg chg="mod">
          <ac:chgData name="Cai, Simon (NSB - CN/Chengdu)" userId="37152ebf-cb41-4a71-820f-4428dc623117" providerId="ADAL" clId="{CD5ECD8A-636A-4120-B8C5-01159C61DB0E}" dt="2022-06-09T21:14:44.625" v="619" actId="20577"/>
          <ac:spMkLst>
            <pc:docMk/>
            <pc:sldMk cId="2835258899" sldId="2146846874"/>
            <ac:spMk id="3" creationId="{82C85D76-710F-49E3-A4A4-D13791F9902B}"/>
          </ac:spMkLst>
        </pc:spChg>
        <pc:spChg chg="mod">
          <ac:chgData name="Cai, Simon (NSB - CN/Chengdu)" userId="37152ebf-cb41-4a71-820f-4428dc623117" providerId="ADAL" clId="{CD5ECD8A-636A-4120-B8C5-01159C61DB0E}" dt="2022-06-09T21:03:02.308" v="344"/>
          <ac:spMkLst>
            <pc:docMk/>
            <pc:sldMk cId="2835258899" sldId="2146846874"/>
            <ac:spMk id="4" creationId="{BDEDB3A6-ED48-4EDB-8A00-AEE7ED2AD2BD}"/>
          </ac:spMkLst>
        </pc:spChg>
      </pc:sldChg>
      <pc:sldChg chg="modSp new mod">
        <pc:chgData name="Cai, Simon (NSB - CN/Chengdu)" userId="37152ebf-cb41-4a71-820f-4428dc623117" providerId="ADAL" clId="{CD5ECD8A-636A-4120-B8C5-01159C61DB0E}" dt="2022-06-09T21:15:24.732" v="622" actId="108"/>
        <pc:sldMkLst>
          <pc:docMk/>
          <pc:sldMk cId="3039704943" sldId="2146846875"/>
        </pc:sldMkLst>
        <pc:spChg chg="mod">
          <ac:chgData name="Cai, Simon (NSB - CN/Chengdu)" userId="37152ebf-cb41-4a71-820f-4428dc623117" providerId="ADAL" clId="{CD5ECD8A-636A-4120-B8C5-01159C61DB0E}" dt="2022-06-09T21:15:24.732" v="622" actId="108"/>
          <ac:spMkLst>
            <pc:docMk/>
            <pc:sldMk cId="3039704943" sldId="2146846875"/>
            <ac:spMk id="3" creationId="{F39038C3-747A-467F-80E6-E23E4A169D7D}"/>
          </ac:spMkLst>
        </pc:spChg>
        <pc:spChg chg="mod">
          <ac:chgData name="Cai, Simon (NSB - CN/Chengdu)" userId="37152ebf-cb41-4a71-820f-4428dc623117" providerId="ADAL" clId="{CD5ECD8A-636A-4120-B8C5-01159C61DB0E}" dt="2022-06-09T21:05:32.576" v="368" actId="27636"/>
          <ac:spMkLst>
            <pc:docMk/>
            <pc:sldMk cId="3039704943" sldId="2146846875"/>
            <ac:spMk id="4" creationId="{37FBDF09-321D-4847-BEAD-E7621773D58A}"/>
          </ac:spMkLst>
        </pc:spChg>
      </pc:sldChg>
      <pc:sldChg chg="modSp new mod">
        <pc:chgData name="Cai, Simon (NSB - CN/Chengdu)" userId="37152ebf-cb41-4a71-820f-4428dc623117" providerId="ADAL" clId="{CD5ECD8A-636A-4120-B8C5-01159C61DB0E}" dt="2022-06-09T21:13:24.838" v="611" actId="255"/>
        <pc:sldMkLst>
          <pc:docMk/>
          <pc:sldMk cId="2351449669" sldId="2146846876"/>
        </pc:sldMkLst>
        <pc:spChg chg="mod">
          <ac:chgData name="Cai, Simon (NSB - CN/Chengdu)" userId="37152ebf-cb41-4a71-820f-4428dc623117" providerId="ADAL" clId="{CD5ECD8A-636A-4120-B8C5-01159C61DB0E}" dt="2022-06-09T21:07:45.336" v="384" actId="20577"/>
          <ac:spMkLst>
            <pc:docMk/>
            <pc:sldMk cId="2351449669" sldId="2146846876"/>
            <ac:spMk id="3" creationId="{E97CCFBB-F428-422C-988D-523179662440}"/>
          </ac:spMkLst>
        </pc:spChg>
        <pc:spChg chg="mod">
          <ac:chgData name="Cai, Simon (NSB - CN/Chengdu)" userId="37152ebf-cb41-4a71-820f-4428dc623117" providerId="ADAL" clId="{CD5ECD8A-636A-4120-B8C5-01159C61DB0E}" dt="2022-06-09T21:13:24.838" v="611" actId="255"/>
          <ac:spMkLst>
            <pc:docMk/>
            <pc:sldMk cId="2351449669" sldId="2146846876"/>
            <ac:spMk id="4" creationId="{FF754E35-9889-4784-8D0F-792889EE352A}"/>
          </ac:spMkLst>
        </pc:spChg>
      </pc:sldChg>
      <pc:sldChg chg="modSp new mod">
        <pc:chgData name="Cai, Simon (NSB - CN/Chengdu)" userId="37152ebf-cb41-4a71-820f-4428dc623117" providerId="ADAL" clId="{CD5ECD8A-636A-4120-B8C5-01159C61DB0E}" dt="2022-06-09T21:17:29.457" v="638" actId="403"/>
        <pc:sldMkLst>
          <pc:docMk/>
          <pc:sldMk cId="3409453194" sldId="2146846877"/>
        </pc:sldMkLst>
        <pc:spChg chg="mod">
          <ac:chgData name="Cai, Simon (NSB - CN/Chengdu)" userId="37152ebf-cb41-4a71-820f-4428dc623117" providerId="ADAL" clId="{CD5ECD8A-636A-4120-B8C5-01159C61DB0E}" dt="2022-06-09T21:17:22.603" v="637" actId="20577"/>
          <ac:spMkLst>
            <pc:docMk/>
            <pc:sldMk cId="3409453194" sldId="2146846877"/>
            <ac:spMk id="3" creationId="{DD6A8B7D-4DE7-4527-8143-A998E9F13925}"/>
          </ac:spMkLst>
        </pc:spChg>
        <pc:spChg chg="mod">
          <ac:chgData name="Cai, Simon (NSB - CN/Chengdu)" userId="37152ebf-cb41-4a71-820f-4428dc623117" providerId="ADAL" clId="{CD5ECD8A-636A-4120-B8C5-01159C61DB0E}" dt="2022-06-09T21:17:29.457" v="638" actId="403"/>
          <ac:spMkLst>
            <pc:docMk/>
            <pc:sldMk cId="3409453194" sldId="2146846877"/>
            <ac:spMk id="4" creationId="{4CE9BCDE-B7C4-4582-BC8C-7323DD680549}"/>
          </ac:spMkLst>
        </pc:spChg>
      </pc:sldChg>
      <pc:sldChg chg="modSp add mod">
        <pc:chgData name="Cai, Simon (NSB - CN/Chengdu)" userId="37152ebf-cb41-4a71-820f-4428dc623117" providerId="ADAL" clId="{CD5ECD8A-636A-4120-B8C5-01159C61DB0E}" dt="2022-06-09T21:20:04.181" v="660" actId="20577"/>
        <pc:sldMkLst>
          <pc:docMk/>
          <pc:sldMk cId="1404189221" sldId="2146846878"/>
        </pc:sldMkLst>
        <pc:spChg chg="mod">
          <ac:chgData name="Cai, Simon (NSB - CN/Chengdu)" userId="37152ebf-cb41-4a71-820f-4428dc623117" providerId="ADAL" clId="{CD5ECD8A-636A-4120-B8C5-01159C61DB0E}" dt="2022-06-09T21:20:04.181" v="660" actId="20577"/>
          <ac:spMkLst>
            <pc:docMk/>
            <pc:sldMk cId="1404189221" sldId="2146846878"/>
            <ac:spMk id="2" creationId="{084E0E20-8FE6-4781-B6C0-7E6762E27EFD}"/>
          </ac:spMkLst>
        </pc:spChg>
        <pc:spChg chg="mod">
          <ac:chgData name="Cai, Simon (NSB - CN/Chengdu)" userId="37152ebf-cb41-4a71-820f-4428dc623117" providerId="ADAL" clId="{CD5ECD8A-636A-4120-B8C5-01159C61DB0E}" dt="2022-06-09T21:18:03.164" v="648" actId="20577"/>
          <ac:spMkLst>
            <pc:docMk/>
            <pc:sldMk cId="1404189221" sldId="2146846878"/>
            <ac:spMk id="3" creationId="{14FE9E95-DD99-4749-932D-9B4556FB0B27}"/>
          </ac:spMkLst>
        </pc:spChg>
      </pc:sldChg>
      <pc:sldChg chg="addSp modSp add mod">
        <pc:chgData name="Cai, Simon (NSB - CN/Chengdu)" userId="37152ebf-cb41-4a71-820f-4428dc623117" providerId="ADAL" clId="{CD5ECD8A-636A-4120-B8C5-01159C61DB0E}" dt="2022-06-09T21:22:50.214" v="670" actId="1076"/>
        <pc:sldMkLst>
          <pc:docMk/>
          <pc:sldMk cId="3822359878" sldId="2146846879"/>
        </pc:sldMkLst>
        <pc:spChg chg="add mod">
          <ac:chgData name="Cai, Simon (NSB - CN/Chengdu)" userId="37152ebf-cb41-4a71-820f-4428dc623117" providerId="ADAL" clId="{CD5ECD8A-636A-4120-B8C5-01159C61DB0E}" dt="2022-06-09T21:22:50.214" v="670" actId="1076"/>
          <ac:spMkLst>
            <pc:docMk/>
            <pc:sldMk cId="3822359878" sldId="2146846879"/>
            <ac:spMk id="4" creationId="{503AB6C8-2A32-4470-AEB2-1970AACA1A8B}"/>
          </ac:spMkLst>
        </pc:spChg>
        <pc:graphicFrameChg chg="add mod">
          <ac:chgData name="Cai, Simon (NSB - CN/Chengdu)" userId="37152ebf-cb41-4a71-820f-4428dc623117" providerId="ADAL" clId="{CD5ECD8A-636A-4120-B8C5-01159C61DB0E}" dt="2022-06-09T21:22:50.214" v="670" actId="1076"/>
          <ac:graphicFrameMkLst>
            <pc:docMk/>
            <pc:sldMk cId="3822359878" sldId="2146846879"/>
            <ac:graphicFrameMk id="5" creationId="{4BA4C972-8110-477C-8673-B2A5B706F438}"/>
          </ac:graphicFrameMkLst>
        </pc:graphicFrameChg>
        <pc:graphicFrameChg chg="mod">
          <ac:chgData name="Cai, Simon (NSB - CN/Chengdu)" userId="37152ebf-cb41-4a71-820f-4428dc623117" providerId="ADAL" clId="{CD5ECD8A-636A-4120-B8C5-01159C61DB0E}" dt="2022-06-09T21:22:35.864" v="666" actId="1076"/>
          <ac:graphicFrameMkLst>
            <pc:docMk/>
            <pc:sldMk cId="3822359878" sldId="2146846879"/>
            <ac:graphicFrameMk id="8" creationId="{5AD90787-8FD2-4518-9018-722CA5CD1216}"/>
          </ac:graphicFrameMkLst>
        </pc:graphicFrameChg>
        <pc:graphicFrameChg chg="mod">
          <ac:chgData name="Cai, Simon (NSB - CN/Chengdu)" userId="37152ebf-cb41-4a71-820f-4428dc623117" providerId="ADAL" clId="{CD5ECD8A-636A-4120-B8C5-01159C61DB0E}" dt="2022-06-09T21:22:26.086" v="664" actId="1076"/>
          <ac:graphicFrameMkLst>
            <pc:docMk/>
            <pc:sldMk cId="3822359878" sldId="2146846879"/>
            <ac:graphicFrameMk id="10" creationId="{412A1566-DAD9-4999-8C9C-CBABD2C244F8}"/>
          </ac:graphicFrameMkLst>
        </pc:graphicFrameChg>
        <pc:graphicFrameChg chg="mod">
          <ac:chgData name="Cai, Simon (NSB - CN/Chengdu)" userId="37152ebf-cb41-4a71-820f-4428dc623117" providerId="ADAL" clId="{CD5ECD8A-636A-4120-B8C5-01159C61DB0E}" dt="2022-06-09T21:22:30.927" v="665" actId="1076"/>
          <ac:graphicFrameMkLst>
            <pc:docMk/>
            <pc:sldMk cId="3822359878" sldId="2146846879"/>
            <ac:graphicFrameMk id="12" creationId="{33D79BCB-EED9-4475-A64C-57340BB446A5}"/>
          </ac:graphicFrameMkLst>
        </pc:graphicFrameChg>
      </pc:sldChg>
      <pc:sldChg chg="addSp delSp modSp new mod">
        <pc:chgData name="Cai, Simon (NSB - CN/Chengdu)" userId="37152ebf-cb41-4a71-820f-4428dc623117" providerId="ADAL" clId="{CD5ECD8A-636A-4120-B8C5-01159C61DB0E}" dt="2022-06-09T21:27:31.449" v="797" actId="1076"/>
        <pc:sldMkLst>
          <pc:docMk/>
          <pc:sldMk cId="2964164585" sldId="2146846880"/>
        </pc:sldMkLst>
        <pc:spChg chg="mod">
          <ac:chgData name="Cai, Simon (NSB - CN/Chengdu)" userId="37152ebf-cb41-4a71-820f-4428dc623117" providerId="ADAL" clId="{CD5ECD8A-636A-4120-B8C5-01159C61DB0E}" dt="2022-06-09T21:25:31.629" v="769" actId="20577"/>
          <ac:spMkLst>
            <pc:docMk/>
            <pc:sldMk cId="2964164585" sldId="2146846880"/>
            <ac:spMk id="2" creationId="{1DAF4AEB-70BE-4E2B-820D-7D362E78AF4B}"/>
          </ac:spMkLst>
        </pc:spChg>
        <pc:spChg chg="mod">
          <ac:chgData name="Cai, Simon (NSB - CN/Chengdu)" userId="37152ebf-cb41-4a71-820f-4428dc623117" providerId="ADAL" clId="{CD5ECD8A-636A-4120-B8C5-01159C61DB0E}" dt="2022-06-09T21:23:22.055" v="692" actId="20577"/>
          <ac:spMkLst>
            <pc:docMk/>
            <pc:sldMk cId="2964164585" sldId="2146846880"/>
            <ac:spMk id="3" creationId="{829A1AE1-ED37-4E2A-A82B-06243A44724D}"/>
          </ac:spMkLst>
        </pc:spChg>
        <pc:spChg chg="del">
          <ac:chgData name="Cai, Simon (NSB - CN/Chengdu)" userId="37152ebf-cb41-4a71-820f-4428dc623117" providerId="ADAL" clId="{CD5ECD8A-636A-4120-B8C5-01159C61DB0E}" dt="2022-06-09T21:27:25.287" v="796" actId="478"/>
          <ac:spMkLst>
            <pc:docMk/>
            <pc:sldMk cId="2964164585" sldId="2146846880"/>
            <ac:spMk id="4" creationId="{A91D83E4-FBFE-4498-8FAF-C150646B3420}"/>
          </ac:spMkLst>
        </pc:spChg>
        <pc:graphicFrameChg chg="add mod">
          <ac:chgData name="Cai, Simon (NSB - CN/Chengdu)" userId="37152ebf-cb41-4a71-820f-4428dc623117" providerId="ADAL" clId="{CD5ECD8A-636A-4120-B8C5-01159C61DB0E}" dt="2022-06-09T21:27:31.449" v="797" actId="1076"/>
          <ac:graphicFrameMkLst>
            <pc:docMk/>
            <pc:sldMk cId="2964164585" sldId="2146846880"/>
            <ac:graphicFrameMk id="5" creationId="{509E44FD-64AB-4F7F-BAEE-4F2E917E074B}"/>
          </ac:graphicFrameMkLst>
        </pc:graphicFrameChg>
        <pc:graphicFrameChg chg="add mod">
          <ac:chgData name="Cai, Simon (NSB - CN/Chengdu)" userId="37152ebf-cb41-4a71-820f-4428dc623117" providerId="ADAL" clId="{CD5ECD8A-636A-4120-B8C5-01159C61DB0E}" dt="2022-06-09T21:27:21.525" v="795" actId="1076"/>
          <ac:graphicFrameMkLst>
            <pc:docMk/>
            <pc:sldMk cId="2964164585" sldId="2146846880"/>
            <ac:graphicFrameMk id="6" creationId="{B907DB9F-470C-4EC1-816A-EEBF15E1D643}"/>
          </ac:graphicFrameMkLst>
        </pc:graphicFrameChg>
        <pc:graphicFrameChg chg="add mod">
          <ac:chgData name="Cai, Simon (NSB - CN/Chengdu)" userId="37152ebf-cb41-4a71-820f-4428dc623117" providerId="ADAL" clId="{CD5ECD8A-636A-4120-B8C5-01159C61DB0E}" dt="2022-06-09T21:27:08.437" v="791" actId="1076"/>
          <ac:graphicFrameMkLst>
            <pc:docMk/>
            <pc:sldMk cId="2964164585" sldId="2146846880"/>
            <ac:graphicFrameMk id="7" creationId="{90854BC8-2155-4B59-9CF9-A3BC8D89F136}"/>
          </ac:graphicFrameMkLst>
        </pc:graphicFrameChg>
      </pc:sldChg>
      <pc:sldMasterChg chg="delSldLayout">
        <pc:chgData name="Cai, Simon (NSB - CN/Chengdu)" userId="37152ebf-cb41-4a71-820f-4428dc623117" providerId="ADAL" clId="{CD5ECD8A-636A-4120-B8C5-01159C61DB0E}" dt="2022-06-09T20:56:18" v="171" actId="47"/>
        <pc:sldMasterMkLst>
          <pc:docMk/>
          <pc:sldMasterMk cId="4241891639" sldId="2147483650"/>
        </pc:sldMasterMkLst>
        <pc:sldLayoutChg chg="del">
          <pc:chgData name="Cai, Simon (NSB - CN/Chengdu)" userId="37152ebf-cb41-4a71-820f-4428dc623117" providerId="ADAL" clId="{CD5ECD8A-636A-4120-B8C5-01159C61DB0E}" dt="2022-06-09T20:56:18" v="171" actId="47"/>
          <pc:sldLayoutMkLst>
            <pc:docMk/>
            <pc:sldMasterMk cId="4241891639" sldId="2147483650"/>
            <pc:sldLayoutMk cId="1219731185" sldId="2147483897"/>
          </pc:sldLayoutMkLst>
        </pc:sldLayoutChg>
      </pc:sldMasterChg>
    </pc:docChg>
  </pc:docChgLst>
  <pc:docChgLst>
    <pc:chgData name="Thiebaut, Laurent (Nokia - FR/Paris-Saclay)" userId="S::laurent.thiebaut@nokia.com::5a0f83ef-4330-4e17-8828-eca8fc03b257" providerId="AD" clId="Web-{8C50C2CB-2A99-67E0-5863-3AFA3208BC40}"/>
    <pc:docChg chg="delSld modSld">
      <pc:chgData name="Thiebaut, Laurent (Nokia - FR/Paris-Saclay)" userId="S::laurent.thiebaut@nokia.com::5a0f83ef-4330-4e17-8828-eca8fc03b257" providerId="AD" clId="Web-{8C50C2CB-2A99-67E0-5863-3AFA3208BC40}" dt="2021-11-26T08:24:07.008" v="8"/>
      <pc:docMkLst>
        <pc:docMk/>
      </pc:docMkLst>
      <pc:sldChg chg="delSp">
        <pc:chgData name="Thiebaut, Laurent (Nokia - FR/Paris-Saclay)" userId="S::laurent.thiebaut@nokia.com::5a0f83ef-4330-4e17-8828-eca8fc03b257" providerId="AD" clId="Web-{8C50C2CB-2A99-67E0-5863-3AFA3208BC40}" dt="2021-11-26T08:23:46.742" v="7"/>
        <pc:sldMkLst>
          <pc:docMk/>
          <pc:sldMk cId="2416036818" sldId="338"/>
        </pc:sldMkLst>
        <pc:spChg chg="del">
          <ac:chgData name="Thiebaut, Laurent (Nokia - FR/Paris-Saclay)" userId="S::laurent.thiebaut@nokia.com::5a0f83ef-4330-4e17-8828-eca8fc03b257" providerId="AD" clId="Web-{8C50C2CB-2A99-67E0-5863-3AFA3208BC40}" dt="2021-11-26T08:23:46.742" v="7"/>
          <ac:spMkLst>
            <pc:docMk/>
            <pc:sldMk cId="2416036818" sldId="338"/>
            <ac:spMk id="2" creationId="{2C640001-4421-4B75-B200-4EE37AB22E8B}"/>
          </ac:spMkLst>
        </pc:spChg>
      </pc:sldChg>
      <pc:sldChg chg="del">
        <pc:chgData name="Thiebaut, Laurent (Nokia - FR/Paris-Saclay)" userId="S::laurent.thiebaut@nokia.com::5a0f83ef-4330-4e17-8828-eca8fc03b257" providerId="AD" clId="Web-{8C50C2CB-2A99-67E0-5863-3AFA3208BC40}" dt="2021-11-26T08:06:25.574" v="6"/>
        <pc:sldMkLst>
          <pc:docMk/>
          <pc:sldMk cId="2014486249" sldId="806"/>
        </pc:sldMkLst>
      </pc:sldChg>
      <pc:sldChg chg="modSp">
        <pc:chgData name="Thiebaut, Laurent (Nokia - FR/Paris-Saclay)" userId="S::laurent.thiebaut@nokia.com::5a0f83ef-4330-4e17-8828-eca8fc03b257" providerId="AD" clId="Web-{8C50C2CB-2A99-67E0-5863-3AFA3208BC40}" dt="2021-11-26T08:05:56.963" v="5" actId="20577"/>
        <pc:sldMkLst>
          <pc:docMk/>
          <pc:sldMk cId="113731936" sldId="2134805416"/>
        </pc:sldMkLst>
        <pc:spChg chg="mod">
          <ac:chgData name="Thiebaut, Laurent (Nokia - FR/Paris-Saclay)" userId="S::laurent.thiebaut@nokia.com::5a0f83ef-4330-4e17-8828-eca8fc03b257" providerId="AD" clId="Web-{8C50C2CB-2A99-67E0-5863-3AFA3208BC40}" dt="2021-11-26T08:05:56.963" v="5" actId="20577"/>
          <ac:spMkLst>
            <pc:docMk/>
            <pc:sldMk cId="113731936" sldId="2134805416"/>
            <ac:spMk id="3" creationId="{A4E748F3-52F3-4227-86AD-9C50826A6263}"/>
          </ac:spMkLst>
        </pc:spChg>
      </pc:sldChg>
      <pc:sldChg chg="del">
        <pc:chgData name="Thiebaut, Laurent (Nokia - FR/Paris-Saclay)" userId="S::laurent.thiebaut@nokia.com::5a0f83ef-4330-4e17-8828-eca8fc03b257" providerId="AD" clId="Web-{8C50C2CB-2A99-67E0-5863-3AFA3208BC40}" dt="2021-11-26T08:24:07.008" v="8"/>
        <pc:sldMkLst>
          <pc:docMk/>
          <pc:sldMk cId="708047874" sldId="2134805526"/>
        </pc:sldMkLst>
      </pc:sldChg>
    </pc:docChg>
  </pc:docChgLst>
  <pc:docChgLst>
    <pc:chgData name="Belling, Thomas (Nokia - DE/Munich)" userId="38e53bf5-7a59-41ec-8bf1-bf611b810166" providerId="ADAL" clId="{1B47D212-4BB6-49E6-AC54-920756C2BFD1}"/>
    <pc:docChg chg="undo custSel addSld delSld modSld sldOrd">
      <pc:chgData name="Belling, Thomas (Nokia - DE/Munich)" userId="38e53bf5-7a59-41ec-8bf1-bf611b810166" providerId="ADAL" clId="{1B47D212-4BB6-49E6-AC54-920756C2BFD1}" dt="2020-03-10T19:52:28.887" v="375" actId="6549"/>
      <pc:docMkLst>
        <pc:docMk/>
      </pc:docMkLst>
      <pc:sldChg chg="modSp">
        <pc:chgData name="Belling, Thomas (Nokia - DE/Munich)" userId="38e53bf5-7a59-41ec-8bf1-bf611b810166" providerId="ADAL" clId="{1B47D212-4BB6-49E6-AC54-920756C2BFD1}" dt="2020-03-10T19:52:28.887" v="375" actId="6549"/>
        <pc:sldMkLst>
          <pc:docMk/>
          <pc:sldMk cId="1124374886" sldId="302"/>
        </pc:sldMkLst>
        <pc:spChg chg="mod">
          <ac:chgData name="Belling, Thomas (Nokia - DE/Munich)" userId="38e53bf5-7a59-41ec-8bf1-bf611b810166" providerId="ADAL" clId="{1B47D212-4BB6-49E6-AC54-920756C2BFD1}" dt="2020-03-10T19:52:28.887" v="375" actId="6549"/>
          <ac:spMkLst>
            <pc:docMk/>
            <pc:sldMk cId="1124374886" sldId="302"/>
            <ac:spMk id="3" creationId="{5B84A4F0-57DA-4FC9-AEAC-815E3FF90221}"/>
          </ac:spMkLst>
        </pc:spChg>
      </pc:sldChg>
      <pc:sldChg chg="modSp">
        <pc:chgData name="Belling, Thomas (Nokia - DE/Munich)" userId="38e53bf5-7a59-41ec-8bf1-bf611b810166" providerId="ADAL" clId="{1B47D212-4BB6-49E6-AC54-920756C2BFD1}" dt="2020-03-10T19:49:30.420" v="351" actId="20577"/>
        <pc:sldMkLst>
          <pc:docMk/>
          <pc:sldMk cId="20773976" sldId="303"/>
        </pc:sldMkLst>
        <pc:spChg chg="mod">
          <ac:chgData name="Belling, Thomas (Nokia - DE/Munich)" userId="38e53bf5-7a59-41ec-8bf1-bf611b810166" providerId="ADAL" clId="{1B47D212-4BB6-49E6-AC54-920756C2BFD1}" dt="2020-03-10T19:49:30.420" v="351" actId="20577"/>
          <ac:spMkLst>
            <pc:docMk/>
            <pc:sldMk cId="20773976" sldId="303"/>
            <ac:spMk id="3" creationId="{5B84A4F0-57DA-4FC9-AEAC-815E3FF90221}"/>
          </ac:spMkLst>
        </pc:spChg>
      </pc:sldChg>
      <pc:sldChg chg="modSp">
        <pc:chgData name="Belling, Thomas (Nokia - DE/Munich)" userId="38e53bf5-7a59-41ec-8bf1-bf611b810166" providerId="ADAL" clId="{1B47D212-4BB6-49E6-AC54-920756C2BFD1}" dt="2020-03-10T19:51:42.926" v="363" actId="6549"/>
        <pc:sldMkLst>
          <pc:docMk/>
          <pc:sldMk cId="62257519" sldId="304"/>
        </pc:sldMkLst>
        <pc:spChg chg="mod">
          <ac:chgData name="Belling, Thomas (Nokia - DE/Munich)" userId="38e53bf5-7a59-41ec-8bf1-bf611b810166" providerId="ADAL" clId="{1B47D212-4BB6-49E6-AC54-920756C2BFD1}" dt="2020-03-10T19:51:42.926" v="363" actId="6549"/>
          <ac:spMkLst>
            <pc:docMk/>
            <pc:sldMk cId="62257519" sldId="304"/>
            <ac:spMk id="3" creationId="{5B84A4F0-57DA-4FC9-AEAC-815E3FF90221}"/>
          </ac:spMkLst>
        </pc:spChg>
      </pc:sldChg>
      <pc:sldChg chg="modSp">
        <pc:chgData name="Belling, Thomas (Nokia - DE/Munich)" userId="38e53bf5-7a59-41ec-8bf1-bf611b810166" providerId="ADAL" clId="{1B47D212-4BB6-49E6-AC54-920756C2BFD1}" dt="2020-03-10T19:51:26.070" v="358" actId="6549"/>
        <pc:sldMkLst>
          <pc:docMk/>
          <pc:sldMk cId="3180151841" sldId="305"/>
        </pc:sldMkLst>
        <pc:spChg chg="mod">
          <ac:chgData name="Belling, Thomas (Nokia - DE/Munich)" userId="38e53bf5-7a59-41ec-8bf1-bf611b810166" providerId="ADAL" clId="{1B47D212-4BB6-49E6-AC54-920756C2BFD1}" dt="2020-03-10T19:51:26.070" v="358" actId="6549"/>
          <ac:spMkLst>
            <pc:docMk/>
            <pc:sldMk cId="3180151841" sldId="305"/>
            <ac:spMk id="3" creationId="{5B84A4F0-57DA-4FC9-AEAC-815E3FF90221}"/>
          </ac:spMkLst>
        </pc:spChg>
      </pc:sldChg>
    </pc:docChg>
  </pc:docChgLst>
  <pc:docChgLst>
    <pc:chgData name="Singh, Shubhranshu (Nokia - DE/Munich)" userId="S::shubhranshu.singh@nokia-bell-labs.com::097f1207-65ae-4ec2-ab78-00d0c1d73a58" providerId="AD" clId="Web-{0347C29F-E0E5-2000-D7F0-02D8E50386B4}"/>
    <pc:docChg chg="modSld">
      <pc:chgData name="Singh, Shubhranshu (Nokia - DE/Munich)" userId="S::shubhranshu.singh@nokia-bell-labs.com::097f1207-65ae-4ec2-ab78-00d0c1d73a58" providerId="AD" clId="Web-{0347C29F-E0E5-2000-D7F0-02D8E50386B4}" dt="2021-04-27T07:39:47.534" v="4" actId="20577"/>
      <pc:docMkLst>
        <pc:docMk/>
      </pc:docMkLst>
      <pc:sldChg chg="modSp">
        <pc:chgData name="Singh, Shubhranshu (Nokia - DE/Munich)" userId="S::shubhranshu.singh@nokia-bell-labs.com::097f1207-65ae-4ec2-ab78-00d0c1d73a58" providerId="AD" clId="Web-{0347C29F-E0E5-2000-D7F0-02D8E50386B4}" dt="2021-04-27T07:39:47.534" v="4" actId="20577"/>
        <pc:sldMkLst>
          <pc:docMk/>
          <pc:sldMk cId="356227305" sldId="816"/>
        </pc:sldMkLst>
        <pc:spChg chg="mod">
          <ac:chgData name="Singh, Shubhranshu (Nokia - DE/Munich)" userId="S::shubhranshu.singh@nokia-bell-labs.com::097f1207-65ae-4ec2-ab78-00d0c1d73a58" providerId="AD" clId="Web-{0347C29F-E0E5-2000-D7F0-02D8E50386B4}" dt="2021-04-27T07:39:47.534" v="4" actId="20577"/>
          <ac:spMkLst>
            <pc:docMk/>
            <pc:sldMk cId="356227305" sldId="816"/>
            <ac:spMk id="29698" creationId="{00000000-0000-0000-0000-000000000000}"/>
          </ac:spMkLst>
        </pc:spChg>
      </pc:sldChg>
      <pc:sldChg chg="modSp">
        <pc:chgData name="Singh, Shubhranshu (Nokia - DE/Munich)" userId="S::shubhranshu.singh@nokia-bell-labs.com::097f1207-65ae-4ec2-ab78-00d0c1d73a58" providerId="AD" clId="Web-{0347C29F-E0E5-2000-D7F0-02D8E50386B4}" dt="2021-04-27T07:39:05.845" v="1" actId="14100"/>
        <pc:sldMkLst>
          <pc:docMk/>
          <pc:sldMk cId="638605840" sldId="2134805417"/>
        </pc:sldMkLst>
        <pc:spChg chg="mod">
          <ac:chgData name="Singh, Shubhranshu (Nokia - DE/Munich)" userId="S::shubhranshu.singh@nokia-bell-labs.com::097f1207-65ae-4ec2-ab78-00d0c1d73a58" providerId="AD" clId="Web-{0347C29F-E0E5-2000-D7F0-02D8E50386B4}" dt="2021-04-27T07:39:05.845" v="1" actId="14100"/>
          <ac:spMkLst>
            <pc:docMk/>
            <pc:sldMk cId="638605840" sldId="2134805417"/>
            <ac:spMk id="4" creationId="{5C8D5078-B8D0-4095-8466-64F7613FE8A6}"/>
          </ac:spMkLst>
        </pc:spChg>
      </pc:sldChg>
      <pc:sldChg chg="modSp">
        <pc:chgData name="Singh, Shubhranshu (Nokia - DE/Munich)" userId="S::shubhranshu.singh@nokia-bell-labs.com::097f1207-65ae-4ec2-ab78-00d0c1d73a58" providerId="AD" clId="Web-{0347C29F-E0E5-2000-D7F0-02D8E50386B4}" dt="2021-04-27T07:39:45.018" v="3" actId="20577"/>
        <pc:sldMkLst>
          <pc:docMk/>
          <pc:sldMk cId="191217492" sldId="2134805472"/>
        </pc:sldMkLst>
        <pc:spChg chg="mod">
          <ac:chgData name="Singh, Shubhranshu (Nokia - DE/Munich)" userId="S::shubhranshu.singh@nokia-bell-labs.com::097f1207-65ae-4ec2-ab78-00d0c1d73a58" providerId="AD" clId="Web-{0347C29F-E0E5-2000-D7F0-02D8E50386B4}" dt="2021-04-27T07:39:45.018" v="3" actId="20577"/>
          <ac:spMkLst>
            <pc:docMk/>
            <pc:sldMk cId="191217492" sldId="2134805472"/>
            <ac:spMk id="29698" creationId="{00000000-0000-0000-0000-000000000000}"/>
          </ac:spMkLst>
        </pc:spChg>
      </pc:sldChg>
    </pc:docChg>
  </pc:docChgLst>
  <pc:docChgLst>
    <pc:chgData name="Belling, Thomas (Nokia - DE/Munich)" userId="38e53bf5-7a59-41ec-8bf1-bf611b810166" providerId="ADAL" clId="{AB23DFCA-4FF2-4A3A-B80A-89B6B6804C2B}"/>
    <pc:docChg chg="undo custSel addSld delSld modSld sldOrd">
      <pc:chgData name="Belling, Thomas (Nokia - DE/Munich)" userId="38e53bf5-7a59-41ec-8bf1-bf611b810166" providerId="ADAL" clId="{AB23DFCA-4FF2-4A3A-B80A-89B6B6804C2B}" dt="2020-06-23T00:08:56.134" v="215" actId="27636"/>
      <pc:docMkLst>
        <pc:docMk/>
      </pc:docMkLst>
      <pc:sldChg chg="modSp">
        <pc:chgData name="Belling, Thomas (Nokia - DE/Munich)" userId="38e53bf5-7a59-41ec-8bf1-bf611b810166" providerId="ADAL" clId="{AB23DFCA-4FF2-4A3A-B80A-89B6B6804C2B}" dt="2020-06-23T00:07:05.187" v="200" actId="20577"/>
        <pc:sldMkLst>
          <pc:docMk/>
          <pc:sldMk cId="2654578793" sldId="361"/>
        </pc:sldMkLst>
        <pc:spChg chg="mod">
          <ac:chgData name="Belling, Thomas (Nokia - DE/Munich)" userId="38e53bf5-7a59-41ec-8bf1-bf611b810166" providerId="ADAL" clId="{AB23DFCA-4FF2-4A3A-B80A-89B6B6804C2B}" dt="2020-06-23T00:07:05.187" v="200" actId="20577"/>
          <ac:spMkLst>
            <pc:docMk/>
            <pc:sldMk cId="2654578793" sldId="361"/>
            <ac:spMk id="4" creationId="{5C8D5078-B8D0-4095-8466-64F7613FE8A6}"/>
          </ac:spMkLst>
        </pc:spChg>
      </pc:sldChg>
      <pc:sldChg chg="modSp add">
        <pc:chgData name="Belling, Thomas (Nokia - DE/Munich)" userId="38e53bf5-7a59-41ec-8bf1-bf611b810166" providerId="ADAL" clId="{AB23DFCA-4FF2-4A3A-B80A-89B6B6804C2B}" dt="2020-06-22T23:52:49.002" v="183"/>
        <pc:sldMkLst>
          <pc:docMk/>
          <pc:sldMk cId="2367314498" sldId="376"/>
        </pc:sldMkLst>
        <pc:spChg chg="mod">
          <ac:chgData name="Belling, Thomas (Nokia - DE/Munich)" userId="38e53bf5-7a59-41ec-8bf1-bf611b810166" providerId="ADAL" clId="{AB23DFCA-4FF2-4A3A-B80A-89B6B6804C2B}" dt="2020-06-22T23:52:49.002" v="183"/>
          <ac:spMkLst>
            <pc:docMk/>
            <pc:sldMk cId="2367314498" sldId="376"/>
            <ac:spMk id="3" creationId="{79F23BEF-877A-4273-A1A7-C381CB9FFA3C}"/>
          </ac:spMkLst>
        </pc:spChg>
        <pc:spChg chg="mod">
          <ac:chgData name="Belling, Thomas (Nokia - DE/Munich)" userId="38e53bf5-7a59-41ec-8bf1-bf611b810166" providerId="ADAL" clId="{AB23DFCA-4FF2-4A3A-B80A-89B6B6804C2B}" dt="2020-06-22T23:46:58.339" v="146" actId="12"/>
          <ac:spMkLst>
            <pc:docMk/>
            <pc:sldMk cId="2367314498" sldId="376"/>
            <ac:spMk id="4" creationId="{5C8D5078-B8D0-4095-8466-64F7613FE8A6}"/>
          </ac:spMkLst>
        </pc:spChg>
      </pc:sldChg>
      <pc:sldChg chg="add del">
        <pc:chgData name="Belling, Thomas (Nokia - DE/Munich)" userId="38e53bf5-7a59-41ec-8bf1-bf611b810166" providerId="ADAL" clId="{AB23DFCA-4FF2-4A3A-B80A-89B6B6804C2B}" dt="2020-06-22T23:43:42.177" v="123"/>
        <pc:sldMkLst>
          <pc:docMk/>
          <pc:sldMk cId="2852797048" sldId="376"/>
        </pc:sldMkLst>
      </pc:sldChg>
      <pc:sldChg chg="add del">
        <pc:chgData name="Belling, Thomas (Nokia - DE/Munich)" userId="38e53bf5-7a59-41ec-8bf1-bf611b810166" providerId="ADAL" clId="{AB23DFCA-4FF2-4A3A-B80A-89B6B6804C2B}" dt="2020-06-22T23:50:38.804" v="160" actId="2696"/>
        <pc:sldMkLst>
          <pc:docMk/>
          <pc:sldMk cId="1634966209" sldId="377"/>
        </pc:sldMkLst>
      </pc:sldChg>
      <pc:sldChg chg="modSp add ord">
        <pc:chgData name="Belling, Thomas (Nokia - DE/Munich)" userId="38e53bf5-7a59-41ec-8bf1-bf611b810166" providerId="ADAL" clId="{AB23DFCA-4FF2-4A3A-B80A-89B6B6804C2B}" dt="2020-06-22T23:53:00.856" v="185"/>
        <pc:sldMkLst>
          <pc:docMk/>
          <pc:sldMk cId="2479110707" sldId="378"/>
        </pc:sldMkLst>
        <pc:spChg chg="mod">
          <ac:chgData name="Belling, Thomas (Nokia - DE/Munich)" userId="38e53bf5-7a59-41ec-8bf1-bf611b810166" providerId="ADAL" clId="{AB23DFCA-4FF2-4A3A-B80A-89B6B6804C2B}" dt="2020-06-22T23:53:00.856" v="185"/>
          <ac:spMkLst>
            <pc:docMk/>
            <pc:sldMk cId="2479110707" sldId="378"/>
            <ac:spMk id="3" creationId="{79F23BEF-877A-4273-A1A7-C381CB9FFA3C}"/>
          </ac:spMkLst>
        </pc:spChg>
        <pc:spChg chg="mod">
          <ac:chgData name="Belling, Thomas (Nokia - DE/Munich)" userId="38e53bf5-7a59-41ec-8bf1-bf611b810166" providerId="ADAL" clId="{AB23DFCA-4FF2-4A3A-B80A-89B6B6804C2B}" dt="2020-06-22T23:50:16.592" v="159" actId="12"/>
          <ac:spMkLst>
            <pc:docMk/>
            <pc:sldMk cId="2479110707" sldId="378"/>
            <ac:spMk id="4" creationId="{5C8D5078-B8D0-4095-8466-64F7613FE8A6}"/>
          </ac:spMkLst>
        </pc:spChg>
      </pc:sldChg>
      <pc:sldChg chg="modSp add ord">
        <pc:chgData name="Belling, Thomas (Nokia - DE/Munich)" userId="38e53bf5-7a59-41ec-8bf1-bf611b810166" providerId="ADAL" clId="{AB23DFCA-4FF2-4A3A-B80A-89B6B6804C2B}" dt="2020-06-22T23:53:09.857" v="187" actId="20577"/>
        <pc:sldMkLst>
          <pc:docMk/>
          <pc:sldMk cId="3023317078" sldId="379"/>
        </pc:sldMkLst>
        <pc:spChg chg="mod">
          <ac:chgData name="Belling, Thomas (Nokia - DE/Munich)" userId="38e53bf5-7a59-41ec-8bf1-bf611b810166" providerId="ADAL" clId="{AB23DFCA-4FF2-4A3A-B80A-89B6B6804C2B}" dt="2020-06-22T23:53:09.857" v="187" actId="20577"/>
          <ac:spMkLst>
            <pc:docMk/>
            <pc:sldMk cId="3023317078" sldId="379"/>
            <ac:spMk id="3" creationId="{79F23BEF-877A-4273-A1A7-C381CB9FFA3C}"/>
          </ac:spMkLst>
        </pc:spChg>
        <pc:spChg chg="mod">
          <ac:chgData name="Belling, Thomas (Nokia - DE/Munich)" userId="38e53bf5-7a59-41ec-8bf1-bf611b810166" providerId="ADAL" clId="{AB23DFCA-4FF2-4A3A-B80A-89B6B6804C2B}" dt="2020-06-22T23:48:55.559" v="154" actId="12"/>
          <ac:spMkLst>
            <pc:docMk/>
            <pc:sldMk cId="3023317078" sldId="379"/>
            <ac:spMk id="4" creationId="{5C8D5078-B8D0-4095-8466-64F7613FE8A6}"/>
          </ac:spMkLst>
        </pc:spChg>
      </pc:sldChg>
      <pc:sldChg chg="modSp add ord">
        <pc:chgData name="Belling, Thomas (Nokia - DE/Munich)" userId="38e53bf5-7a59-41ec-8bf1-bf611b810166" providerId="ADAL" clId="{AB23DFCA-4FF2-4A3A-B80A-89B6B6804C2B}" dt="2020-06-23T00:08:56.134" v="215" actId="27636"/>
        <pc:sldMkLst>
          <pc:docMk/>
          <pc:sldMk cId="1757819087" sldId="380"/>
        </pc:sldMkLst>
        <pc:spChg chg="mod">
          <ac:chgData name="Belling, Thomas (Nokia - DE/Munich)" userId="38e53bf5-7a59-41ec-8bf1-bf611b810166" providerId="ADAL" clId="{AB23DFCA-4FF2-4A3A-B80A-89B6B6804C2B}" dt="2020-06-22T23:53:16.462" v="189"/>
          <ac:spMkLst>
            <pc:docMk/>
            <pc:sldMk cId="1757819087" sldId="380"/>
            <ac:spMk id="3" creationId="{79F23BEF-877A-4273-A1A7-C381CB9FFA3C}"/>
          </ac:spMkLst>
        </pc:spChg>
        <pc:spChg chg="mod">
          <ac:chgData name="Belling, Thomas (Nokia - DE/Munich)" userId="38e53bf5-7a59-41ec-8bf1-bf611b810166" providerId="ADAL" clId="{AB23DFCA-4FF2-4A3A-B80A-89B6B6804C2B}" dt="2020-06-23T00:08:56.134" v="215" actId="27636"/>
          <ac:spMkLst>
            <pc:docMk/>
            <pc:sldMk cId="1757819087" sldId="380"/>
            <ac:spMk id="4" creationId="{5C8D5078-B8D0-4095-8466-64F7613FE8A6}"/>
          </ac:spMkLst>
        </pc:spChg>
      </pc:sldChg>
      <pc:sldChg chg="modSp add del">
        <pc:chgData name="Belling, Thomas (Nokia - DE/Munich)" userId="38e53bf5-7a59-41ec-8bf1-bf611b810166" providerId="ADAL" clId="{AB23DFCA-4FF2-4A3A-B80A-89B6B6804C2B}" dt="2020-06-22T23:49:36.914" v="156" actId="2696"/>
        <pc:sldMkLst>
          <pc:docMk/>
          <pc:sldMk cId="3900156228" sldId="381"/>
        </pc:sldMkLst>
        <pc:spChg chg="mod">
          <ac:chgData name="Belling, Thomas (Nokia - DE/Munich)" userId="38e53bf5-7a59-41ec-8bf1-bf611b810166" providerId="ADAL" clId="{AB23DFCA-4FF2-4A3A-B80A-89B6B6804C2B}" dt="2020-06-22T23:46:30.178" v="143" actId="12"/>
          <ac:spMkLst>
            <pc:docMk/>
            <pc:sldMk cId="3900156228" sldId="381"/>
            <ac:spMk id="4" creationId="{5C8D5078-B8D0-4095-8466-64F7613FE8A6}"/>
          </ac:spMkLst>
        </pc:spChg>
      </pc:sldChg>
      <pc:sldChg chg="modSp add">
        <pc:chgData name="Belling, Thomas (Nokia - DE/Munich)" userId="38e53bf5-7a59-41ec-8bf1-bf611b810166" providerId="ADAL" clId="{AB23DFCA-4FF2-4A3A-B80A-89B6B6804C2B}" dt="2020-06-22T23:52:54.548" v="184"/>
        <pc:sldMkLst>
          <pc:docMk/>
          <pc:sldMk cId="4207742008" sldId="382"/>
        </pc:sldMkLst>
        <pc:spChg chg="mod">
          <ac:chgData name="Belling, Thomas (Nokia - DE/Munich)" userId="38e53bf5-7a59-41ec-8bf1-bf611b810166" providerId="ADAL" clId="{AB23DFCA-4FF2-4A3A-B80A-89B6B6804C2B}" dt="2020-06-22T23:52:54.548" v="184"/>
          <ac:spMkLst>
            <pc:docMk/>
            <pc:sldMk cId="4207742008" sldId="382"/>
            <ac:spMk id="3" creationId="{79F23BEF-877A-4273-A1A7-C381CB9FFA3C}"/>
          </ac:spMkLst>
        </pc:spChg>
        <pc:spChg chg="mod">
          <ac:chgData name="Belling, Thomas (Nokia - DE/Munich)" userId="38e53bf5-7a59-41ec-8bf1-bf611b810166" providerId="ADAL" clId="{AB23DFCA-4FF2-4A3A-B80A-89B6B6804C2B}" dt="2020-06-22T23:51:40.224" v="181" actId="20577"/>
          <ac:spMkLst>
            <pc:docMk/>
            <pc:sldMk cId="4207742008" sldId="382"/>
            <ac:spMk id="4" creationId="{5C8D5078-B8D0-4095-8466-64F7613FE8A6}"/>
          </ac:spMkLst>
        </pc:spChg>
      </pc:sldChg>
      <pc:sldChg chg="modSp add">
        <pc:chgData name="Belling, Thomas (Nokia - DE/Munich)" userId="38e53bf5-7a59-41ec-8bf1-bf611b810166" providerId="ADAL" clId="{AB23DFCA-4FF2-4A3A-B80A-89B6B6804C2B}" dt="2020-06-23T00:08:20.900" v="210" actId="27636"/>
        <pc:sldMkLst>
          <pc:docMk/>
          <pc:sldMk cId="2768328753" sldId="383"/>
        </pc:sldMkLst>
        <pc:spChg chg="mod">
          <ac:chgData name="Belling, Thomas (Nokia - DE/Munich)" userId="38e53bf5-7a59-41ec-8bf1-bf611b810166" providerId="ADAL" clId="{AB23DFCA-4FF2-4A3A-B80A-89B6B6804C2B}" dt="2020-06-22T23:53:23.402" v="190"/>
          <ac:spMkLst>
            <pc:docMk/>
            <pc:sldMk cId="2768328753" sldId="383"/>
            <ac:spMk id="3" creationId="{79F23BEF-877A-4273-A1A7-C381CB9FFA3C}"/>
          </ac:spMkLst>
        </pc:spChg>
        <pc:spChg chg="mod">
          <ac:chgData name="Belling, Thomas (Nokia - DE/Munich)" userId="38e53bf5-7a59-41ec-8bf1-bf611b810166" providerId="ADAL" clId="{AB23DFCA-4FF2-4A3A-B80A-89B6B6804C2B}" dt="2020-06-23T00:08:20.900" v="210" actId="27636"/>
          <ac:spMkLst>
            <pc:docMk/>
            <pc:sldMk cId="2768328753" sldId="383"/>
            <ac:spMk id="4" creationId="{5C8D5078-B8D0-4095-8466-64F7613FE8A6}"/>
          </ac:spMkLst>
        </pc:spChg>
      </pc:sldChg>
      <pc:sldChg chg="modSp add">
        <pc:chgData name="Belling, Thomas (Nokia - DE/Munich)" userId="38e53bf5-7a59-41ec-8bf1-bf611b810166" providerId="ADAL" clId="{AB23DFCA-4FF2-4A3A-B80A-89B6B6804C2B}" dt="2020-06-22T23:55:32.987" v="199" actId="20577"/>
        <pc:sldMkLst>
          <pc:docMk/>
          <pc:sldMk cId="3747019325" sldId="384"/>
        </pc:sldMkLst>
        <pc:spChg chg="mod">
          <ac:chgData name="Belling, Thomas (Nokia - DE/Munich)" userId="38e53bf5-7a59-41ec-8bf1-bf611b810166" providerId="ADAL" clId="{AB23DFCA-4FF2-4A3A-B80A-89B6B6804C2B}" dt="2020-06-22T23:55:32.987" v="199" actId="20577"/>
          <ac:spMkLst>
            <pc:docMk/>
            <pc:sldMk cId="3747019325" sldId="384"/>
            <ac:spMk id="4" creationId="{5C8D5078-B8D0-4095-8466-64F7613FE8A6}"/>
          </ac:spMkLst>
        </pc:spChg>
      </pc:sldChg>
    </pc:docChg>
  </pc:docChgLst>
  <pc:docChgLst>
    <pc:chgData name="Hietalahti, Hannu (Nokia - FI/Oulu)" userId="bcd6d86d-9ffc-4aa1-b5a6-083a51dd89a7" providerId="ADAL" clId="{32F862C1-A8DA-4BD5-B0D1-394EE3095508}"/>
    <pc:docChg chg="undo custSel addSld delSld modSld">
      <pc:chgData name="Hietalahti, Hannu (Nokia - FI/Oulu)" userId="bcd6d86d-9ffc-4aa1-b5a6-083a51dd89a7" providerId="ADAL" clId="{32F862C1-A8DA-4BD5-B0D1-394EE3095508}" dt="2021-11-29T14:51:02.172" v="1721" actId="6549"/>
      <pc:docMkLst>
        <pc:docMk/>
      </pc:docMkLst>
      <pc:sldChg chg="modSp mod">
        <pc:chgData name="Hietalahti, Hannu (Nokia - FI/Oulu)" userId="bcd6d86d-9ffc-4aa1-b5a6-083a51dd89a7" providerId="ADAL" clId="{32F862C1-A8DA-4BD5-B0D1-394EE3095508}" dt="2021-11-29T14:46:22.710" v="1717" actId="20577"/>
        <pc:sldMkLst>
          <pc:docMk/>
          <pc:sldMk cId="1411221200" sldId="2134805566"/>
        </pc:sldMkLst>
        <pc:spChg chg="mod">
          <ac:chgData name="Hietalahti, Hannu (Nokia - FI/Oulu)" userId="bcd6d86d-9ffc-4aa1-b5a6-083a51dd89a7" providerId="ADAL" clId="{32F862C1-A8DA-4BD5-B0D1-394EE3095508}" dt="2021-11-29T10:00:07.055" v="1486" actId="20577"/>
          <ac:spMkLst>
            <pc:docMk/>
            <pc:sldMk cId="1411221200" sldId="2134805566"/>
            <ac:spMk id="2" creationId="{F55F6DD9-9F73-4475-B4C0-0BD35C69E49D}"/>
          </ac:spMkLst>
        </pc:spChg>
        <pc:spChg chg="mod">
          <ac:chgData name="Hietalahti, Hannu (Nokia - FI/Oulu)" userId="bcd6d86d-9ffc-4aa1-b5a6-083a51dd89a7" providerId="ADAL" clId="{32F862C1-A8DA-4BD5-B0D1-394EE3095508}" dt="2021-11-29T09:44:17.145" v="623" actId="20577"/>
          <ac:spMkLst>
            <pc:docMk/>
            <pc:sldMk cId="1411221200" sldId="2134805566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32F862C1-A8DA-4BD5-B0D1-394EE3095508}" dt="2021-11-29T14:44:02.042" v="1711" actId="6549"/>
          <ac:spMkLst>
            <pc:docMk/>
            <pc:sldMk cId="1411221200" sldId="2134805566"/>
            <ac:spMk id="4" creationId="{CD72C33D-DF40-4601-AF02-8DFD5A6EA958}"/>
          </ac:spMkLst>
        </pc:spChg>
        <pc:graphicFrameChg chg="mod modGraphic">
          <ac:chgData name="Hietalahti, Hannu (Nokia - FI/Oulu)" userId="bcd6d86d-9ffc-4aa1-b5a6-083a51dd89a7" providerId="ADAL" clId="{32F862C1-A8DA-4BD5-B0D1-394EE3095508}" dt="2021-11-29T14:46:22.710" v="1717" actId="20577"/>
          <ac:graphicFrameMkLst>
            <pc:docMk/>
            <pc:sldMk cId="1411221200" sldId="2134805566"/>
            <ac:graphicFrameMk id="5" creationId="{0A8A09A2-A363-4D09-AFDF-505C7B1C8D4E}"/>
          </ac:graphicFrameMkLst>
        </pc:graphicFrameChg>
      </pc:sldChg>
      <pc:sldChg chg="add">
        <pc:chgData name="Hietalahti, Hannu (Nokia - FI/Oulu)" userId="bcd6d86d-9ffc-4aa1-b5a6-083a51dd89a7" providerId="ADAL" clId="{32F862C1-A8DA-4BD5-B0D1-394EE3095508}" dt="2021-11-29T08:18:47.153" v="0"/>
        <pc:sldMkLst>
          <pc:docMk/>
          <pc:sldMk cId="1023056229" sldId="2134805569"/>
        </pc:sldMkLst>
      </pc:sldChg>
      <pc:sldChg chg="modSp add mod">
        <pc:chgData name="Hietalahti, Hannu (Nokia - FI/Oulu)" userId="bcd6d86d-9ffc-4aa1-b5a6-083a51dd89a7" providerId="ADAL" clId="{32F862C1-A8DA-4BD5-B0D1-394EE3095508}" dt="2021-11-29T14:51:02.172" v="1721" actId="6549"/>
        <pc:sldMkLst>
          <pc:docMk/>
          <pc:sldMk cId="3055462933" sldId="2134805570"/>
        </pc:sldMkLst>
        <pc:spChg chg="mod">
          <ac:chgData name="Hietalahti, Hannu (Nokia - FI/Oulu)" userId="bcd6d86d-9ffc-4aa1-b5a6-083a51dd89a7" providerId="ADAL" clId="{32F862C1-A8DA-4BD5-B0D1-394EE3095508}" dt="2021-11-29T08:36:06.310" v="442" actId="20577"/>
          <ac:spMkLst>
            <pc:docMk/>
            <pc:sldMk cId="3055462933" sldId="2134805570"/>
            <ac:spMk id="2" creationId="{F55F6DD9-9F73-4475-B4C0-0BD35C69E49D}"/>
          </ac:spMkLst>
        </pc:spChg>
        <pc:spChg chg="mod">
          <ac:chgData name="Hietalahti, Hannu (Nokia - FI/Oulu)" userId="bcd6d86d-9ffc-4aa1-b5a6-083a51dd89a7" providerId="ADAL" clId="{32F862C1-A8DA-4BD5-B0D1-394EE3095508}" dt="2021-11-29T09:44:23.087" v="625" actId="20577"/>
          <ac:spMkLst>
            <pc:docMk/>
            <pc:sldMk cId="3055462933" sldId="2134805570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32F862C1-A8DA-4BD5-B0D1-394EE3095508}" dt="2021-11-29T14:51:02.172" v="1721" actId="6549"/>
          <ac:spMkLst>
            <pc:docMk/>
            <pc:sldMk cId="3055462933" sldId="2134805570"/>
            <ac:spMk id="4" creationId="{CD72C33D-DF40-4601-AF02-8DFD5A6EA958}"/>
          </ac:spMkLst>
        </pc:spChg>
        <pc:graphicFrameChg chg="mod">
          <ac:chgData name="Hietalahti, Hannu (Nokia - FI/Oulu)" userId="bcd6d86d-9ffc-4aa1-b5a6-083a51dd89a7" providerId="ADAL" clId="{32F862C1-A8DA-4BD5-B0D1-394EE3095508}" dt="2021-11-29T14:46:34.603" v="1718" actId="1076"/>
          <ac:graphicFrameMkLst>
            <pc:docMk/>
            <pc:sldMk cId="3055462933" sldId="2134805570"/>
            <ac:graphicFrameMk id="5" creationId="{E7BE7EA0-F98F-4A52-8754-DB6A55765F25}"/>
          </ac:graphicFrameMkLst>
        </pc:graphicFrameChg>
      </pc:sldChg>
      <pc:sldChg chg="add del">
        <pc:chgData name="Hietalahti, Hannu (Nokia - FI/Oulu)" userId="bcd6d86d-9ffc-4aa1-b5a6-083a51dd89a7" providerId="ADAL" clId="{32F862C1-A8DA-4BD5-B0D1-394EE3095508}" dt="2021-11-29T08:45:33.903" v="620" actId="47"/>
        <pc:sldMkLst>
          <pc:docMk/>
          <pc:sldMk cId="1558693239" sldId="2134805571"/>
        </pc:sldMkLst>
      </pc:sldChg>
      <pc:sldChg chg="modSp add mod">
        <pc:chgData name="Hietalahti, Hannu (Nokia - FI/Oulu)" userId="bcd6d86d-9ffc-4aa1-b5a6-083a51dd89a7" providerId="ADAL" clId="{32F862C1-A8DA-4BD5-B0D1-394EE3095508}" dt="2021-11-29T14:48:09.786" v="1720" actId="20577"/>
        <pc:sldMkLst>
          <pc:docMk/>
          <pc:sldMk cId="4241914170" sldId="2134805571"/>
        </pc:sldMkLst>
        <pc:spChg chg="mod">
          <ac:chgData name="Hietalahti, Hannu (Nokia - FI/Oulu)" userId="bcd6d86d-9ffc-4aa1-b5a6-083a51dd89a7" providerId="ADAL" clId="{32F862C1-A8DA-4BD5-B0D1-394EE3095508}" dt="2021-11-29T09:52:13.321" v="1245" actId="20577"/>
          <ac:spMkLst>
            <pc:docMk/>
            <pc:sldMk cId="4241914170" sldId="2134805571"/>
            <ac:spMk id="2" creationId="{F55F6DD9-9F73-4475-B4C0-0BD35C69E49D}"/>
          </ac:spMkLst>
        </pc:spChg>
        <pc:spChg chg="mod">
          <ac:chgData name="Hietalahti, Hannu (Nokia - FI/Oulu)" userId="bcd6d86d-9ffc-4aa1-b5a6-083a51dd89a7" providerId="ADAL" clId="{32F862C1-A8DA-4BD5-B0D1-394EE3095508}" dt="2021-11-29T09:46:21.273" v="698" actId="6549"/>
          <ac:spMkLst>
            <pc:docMk/>
            <pc:sldMk cId="4241914170" sldId="2134805571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32F862C1-A8DA-4BD5-B0D1-394EE3095508}" dt="2021-11-29T09:51:39.018" v="1211" actId="20577"/>
          <ac:spMkLst>
            <pc:docMk/>
            <pc:sldMk cId="4241914170" sldId="2134805571"/>
            <ac:spMk id="4" creationId="{CD72C33D-DF40-4601-AF02-8DFD5A6EA958}"/>
          </ac:spMkLst>
        </pc:spChg>
        <pc:graphicFrameChg chg="modGraphic">
          <ac:chgData name="Hietalahti, Hannu (Nokia - FI/Oulu)" userId="bcd6d86d-9ffc-4aa1-b5a6-083a51dd89a7" providerId="ADAL" clId="{32F862C1-A8DA-4BD5-B0D1-394EE3095508}" dt="2021-11-29T14:48:09.786" v="1720" actId="20577"/>
          <ac:graphicFrameMkLst>
            <pc:docMk/>
            <pc:sldMk cId="4241914170" sldId="2134805571"/>
            <ac:graphicFrameMk id="5" creationId="{ACB35D8B-CB72-4083-B8D5-44BE58A45729}"/>
          </ac:graphicFrameMkLst>
        </pc:graphicFrameChg>
      </pc:sldChg>
      <pc:sldChg chg="modSp add mod">
        <pc:chgData name="Hietalahti, Hannu (Nokia - FI/Oulu)" userId="bcd6d86d-9ffc-4aa1-b5a6-083a51dd89a7" providerId="ADAL" clId="{32F862C1-A8DA-4BD5-B0D1-394EE3095508}" dt="2021-11-29T14:45:12.916" v="1713" actId="20577"/>
        <pc:sldMkLst>
          <pc:docMk/>
          <pc:sldMk cId="773025891" sldId="2134805572"/>
        </pc:sldMkLst>
        <pc:spChg chg="mod">
          <ac:chgData name="Hietalahti, Hannu (Nokia - FI/Oulu)" userId="bcd6d86d-9ffc-4aa1-b5a6-083a51dd89a7" providerId="ADAL" clId="{32F862C1-A8DA-4BD5-B0D1-394EE3095508}" dt="2021-11-29T09:56:09.517" v="1312" actId="404"/>
          <ac:spMkLst>
            <pc:docMk/>
            <pc:sldMk cId="773025891" sldId="2134805572"/>
            <ac:spMk id="2" creationId="{F55F6DD9-9F73-4475-B4C0-0BD35C69E49D}"/>
          </ac:spMkLst>
        </pc:spChg>
        <pc:spChg chg="mod">
          <ac:chgData name="Hietalahti, Hannu (Nokia - FI/Oulu)" userId="bcd6d86d-9ffc-4aa1-b5a6-083a51dd89a7" providerId="ADAL" clId="{32F862C1-A8DA-4BD5-B0D1-394EE3095508}" dt="2021-11-29T09:55:31.051" v="1286" actId="6549"/>
          <ac:spMkLst>
            <pc:docMk/>
            <pc:sldMk cId="773025891" sldId="2134805572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32F862C1-A8DA-4BD5-B0D1-394EE3095508}" dt="2021-11-29T10:01:27.423" v="1489" actId="115"/>
          <ac:spMkLst>
            <pc:docMk/>
            <pc:sldMk cId="773025891" sldId="2134805572"/>
            <ac:spMk id="4" creationId="{CD72C33D-DF40-4601-AF02-8DFD5A6EA958}"/>
          </ac:spMkLst>
        </pc:spChg>
        <pc:graphicFrameChg chg="modGraphic">
          <ac:chgData name="Hietalahti, Hannu (Nokia - FI/Oulu)" userId="bcd6d86d-9ffc-4aa1-b5a6-083a51dd89a7" providerId="ADAL" clId="{32F862C1-A8DA-4BD5-B0D1-394EE3095508}" dt="2021-11-29T14:45:12.916" v="1713" actId="20577"/>
          <ac:graphicFrameMkLst>
            <pc:docMk/>
            <pc:sldMk cId="773025891" sldId="2134805572"/>
            <ac:graphicFrameMk id="5" creationId="{085CAED3-0EA2-400C-BF18-AFA71C83D223}"/>
          </ac:graphicFrameMkLst>
        </pc:graphicFrameChg>
      </pc:sldChg>
    </pc:docChg>
  </pc:docChgLst>
  <pc:docChgLst>
    <pc:chgData name="Casati, Alessio (Nokia - GB)" userId="6f050b0a-bf61-49f1-93be-076af52cf2e7" providerId="ADAL" clId="{22550139-B77B-4104-8B13-3E384B56BA16}"/>
    <pc:docChg chg="custSel addSld delSld modSld">
      <pc:chgData name="Casati, Alessio (Nokia - GB)" userId="6f050b0a-bf61-49f1-93be-076af52cf2e7" providerId="ADAL" clId="{22550139-B77B-4104-8B13-3E384B56BA16}" dt="2021-11-02T15:19:29.048" v="80" actId="20577"/>
      <pc:docMkLst>
        <pc:docMk/>
      </pc:docMkLst>
      <pc:sldChg chg="del">
        <pc:chgData name="Casati, Alessio (Nokia - GB)" userId="6f050b0a-bf61-49f1-93be-076af52cf2e7" providerId="ADAL" clId="{22550139-B77B-4104-8B13-3E384B56BA16}" dt="2021-11-02T15:13:54.653" v="3" actId="47"/>
        <pc:sldMkLst>
          <pc:docMk/>
          <pc:sldMk cId="4028873258" sldId="2134805419"/>
        </pc:sldMkLst>
      </pc:sldChg>
      <pc:sldChg chg="del">
        <pc:chgData name="Casati, Alessio (Nokia - GB)" userId="6f050b0a-bf61-49f1-93be-076af52cf2e7" providerId="ADAL" clId="{22550139-B77B-4104-8B13-3E384B56BA16}" dt="2021-11-02T15:13:49.966" v="2" actId="47"/>
        <pc:sldMkLst>
          <pc:docMk/>
          <pc:sldMk cId="645260410" sldId="2134805420"/>
        </pc:sldMkLst>
      </pc:sldChg>
      <pc:sldChg chg="del">
        <pc:chgData name="Casati, Alessio (Nokia - GB)" userId="6f050b0a-bf61-49f1-93be-076af52cf2e7" providerId="ADAL" clId="{22550139-B77B-4104-8B13-3E384B56BA16}" dt="2021-11-02T15:13:57.521" v="4" actId="47"/>
        <pc:sldMkLst>
          <pc:docMk/>
          <pc:sldMk cId="2159177884" sldId="2134805487"/>
        </pc:sldMkLst>
      </pc:sldChg>
      <pc:sldChg chg="del">
        <pc:chgData name="Casati, Alessio (Nokia - GB)" userId="6f050b0a-bf61-49f1-93be-076af52cf2e7" providerId="ADAL" clId="{22550139-B77B-4104-8B13-3E384B56BA16}" dt="2021-11-02T15:13:59.629" v="5" actId="47"/>
        <pc:sldMkLst>
          <pc:docMk/>
          <pc:sldMk cId="3777372909" sldId="2134805488"/>
        </pc:sldMkLst>
      </pc:sldChg>
      <pc:sldChg chg="del">
        <pc:chgData name="Casati, Alessio (Nokia - GB)" userId="6f050b0a-bf61-49f1-93be-076af52cf2e7" providerId="ADAL" clId="{22550139-B77B-4104-8B13-3E384B56BA16}" dt="2021-11-02T15:14:04.101" v="6" actId="47"/>
        <pc:sldMkLst>
          <pc:docMk/>
          <pc:sldMk cId="491374295" sldId="2134805489"/>
        </pc:sldMkLst>
      </pc:sldChg>
      <pc:sldChg chg="add">
        <pc:chgData name="Casati, Alessio (Nokia - GB)" userId="6f050b0a-bf61-49f1-93be-076af52cf2e7" providerId="ADAL" clId="{22550139-B77B-4104-8B13-3E384B56BA16}" dt="2021-11-02T15:12:20.711" v="0"/>
        <pc:sldMkLst>
          <pc:docMk/>
          <pc:sldMk cId="1528937751" sldId="2134805528"/>
        </pc:sldMkLst>
      </pc:sldChg>
      <pc:sldChg chg="modSp add mod">
        <pc:chgData name="Casati, Alessio (Nokia - GB)" userId="6f050b0a-bf61-49f1-93be-076af52cf2e7" providerId="ADAL" clId="{22550139-B77B-4104-8B13-3E384B56BA16}" dt="2021-11-02T15:18:38.728" v="11" actId="20577"/>
        <pc:sldMkLst>
          <pc:docMk/>
          <pc:sldMk cId="3220459028" sldId="2134805544"/>
        </pc:sldMkLst>
        <pc:spChg chg="mod">
          <ac:chgData name="Casati, Alessio (Nokia - GB)" userId="6f050b0a-bf61-49f1-93be-076af52cf2e7" providerId="ADAL" clId="{22550139-B77B-4104-8B13-3E384B56BA16}" dt="2021-11-02T15:18:38.728" v="11" actId="20577"/>
          <ac:spMkLst>
            <pc:docMk/>
            <pc:sldMk cId="3220459028" sldId="2134805544"/>
            <ac:spMk id="4" creationId="{5C8D5078-B8D0-4095-8466-64F7613FE8A6}"/>
          </ac:spMkLst>
        </pc:spChg>
      </pc:sldChg>
      <pc:sldChg chg="modSp add mod">
        <pc:chgData name="Casati, Alessio (Nokia - GB)" userId="6f050b0a-bf61-49f1-93be-076af52cf2e7" providerId="ADAL" clId="{22550139-B77B-4104-8B13-3E384B56BA16}" dt="2021-11-02T15:15:56.256" v="7" actId="313"/>
        <pc:sldMkLst>
          <pc:docMk/>
          <pc:sldMk cId="3612758426" sldId="2134805545"/>
        </pc:sldMkLst>
        <pc:spChg chg="mod">
          <ac:chgData name="Casati, Alessio (Nokia - GB)" userId="6f050b0a-bf61-49f1-93be-076af52cf2e7" providerId="ADAL" clId="{22550139-B77B-4104-8B13-3E384B56BA16}" dt="2021-11-02T15:15:56.256" v="7" actId="313"/>
          <ac:spMkLst>
            <pc:docMk/>
            <pc:sldMk cId="3612758426" sldId="2134805545"/>
            <ac:spMk id="4" creationId="{5C8D5078-B8D0-4095-8466-64F7613FE8A6}"/>
          </ac:spMkLst>
        </pc:spChg>
      </pc:sldChg>
      <pc:sldChg chg="add">
        <pc:chgData name="Casati, Alessio (Nokia - GB)" userId="6f050b0a-bf61-49f1-93be-076af52cf2e7" providerId="ADAL" clId="{22550139-B77B-4104-8B13-3E384B56BA16}" dt="2021-11-02T15:12:20.711" v="0"/>
        <pc:sldMkLst>
          <pc:docMk/>
          <pc:sldMk cId="1726769432" sldId="2134805546"/>
        </pc:sldMkLst>
      </pc:sldChg>
      <pc:sldChg chg="modSp add mod">
        <pc:chgData name="Casati, Alessio (Nokia - GB)" userId="6f050b0a-bf61-49f1-93be-076af52cf2e7" providerId="ADAL" clId="{22550139-B77B-4104-8B13-3E384B56BA16}" dt="2021-11-02T15:19:29.048" v="80" actId="20577"/>
        <pc:sldMkLst>
          <pc:docMk/>
          <pc:sldMk cId="2524067874" sldId="2134805547"/>
        </pc:sldMkLst>
        <pc:spChg chg="mod">
          <ac:chgData name="Casati, Alessio (Nokia - GB)" userId="6f050b0a-bf61-49f1-93be-076af52cf2e7" providerId="ADAL" clId="{22550139-B77B-4104-8B13-3E384B56BA16}" dt="2021-11-02T15:19:29.048" v="80" actId="20577"/>
          <ac:spMkLst>
            <pc:docMk/>
            <pc:sldMk cId="2524067874" sldId="2134805547"/>
            <ac:spMk id="4" creationId="{5C8D5078-B8D0-4095-8466-64F7613FE8A6}"/>
          </ac:spMkLst>
        </pc:spChg>
      </pc:sldChg>
      <pc:sldChg chg="add">
        <pc:chgData name="Casati, Alessio (Nokia - GB)" userId="6f050b0a-bf61-49f1-93be-076af52cf2e7" providerId="ADAL" clId="{22550139-B77B-4104-8B13-3E384B56BA16}" dt="2021-11-02T15:13:46.256" v="1"/>
        <pc:sldMkLst>
          <pc:docMk/>
          <pc:sldMk cId="679470361" sldId="2134805548"/>
        </pc:sldMkLst>
      </pc:sldChg>
      <pc:sldChg chg="add">
        <pc:chgData name="Casati, Alessio (Nokia - GB)" userId="6f050b0a-bf61-49f1-93be-076af52cf2e7" providerId="ADAL" clId="{22550139-B77B-4104-8B13-3E384B56BA16}" dt="2021-11-02T15:13:46.256" v="1"/>
        <pc:sldMkLst>
          <pc:docMk/>
          <pc:sldMk cId="1082495522" sldId="2134805549"/>
        </pc:sldMkLst>
      </pc:sldChg>
    </pc:docChg>
  </pc:docChgLst>
  <pc:docChgLst>
    <pc:chgData name="Giust, Fabio (Nokia - DE/Munich)" userId="4032e17e-121c-4a4e-b875-df2f68eb573c" providerId="ADAL" clId="{D7C4142F-1F4B-4BCF-8311-A804715C3DB4}"/>
    <pc:docChg chg="undo custSel addSld delSld modSld">
      <pc:chgData name="Giust, Fabio (Nokia - DE/Munich)" userId="4032e17e-121c-4a4e-b875-df2f68eb573c" providerId="ADAL" clId="{D7C4142F-1F4B-4BCF-8311-A804715C3DB4}" dt="2022-09-07T08:10:10.758" v="763" actId="20577"/>
      <pc:docMkLst>
        <pc:docMk/>
      </pc:docMkLst>
      <pc:sldChg chg="del">
        <pc:chgData name="Giust, Fabio (Nokia - DE/Munich)" userId="4032e17e-121c-4a4e-b875-df2f68eb573c" providerId="ADAL" clId="{D7C4142F-1F4B-4BCF-8311-A804715C3DB4}" dt="2022-09-06T15:36:39.519" v="2" actId="47"/>
        <pc:sldMkLst>
          <pc:docMk/>
          <pc:sldMk cId="3917494353" sldId="2134805594"/>
        </pc:sldMkLst>
      </pc:sldChg>
      <pc:sldChg chg="modSp mod">
        <pc:chgData name="Giust, Fabio (Nokia - DE/Munich)" userId="4032e17e-121c-4a4e-b875-df2f68eb573c" providerId="ADAL" clId="{D7C4142F-1F4B-4BCF-8311-A804715C3DB4}" dt="2022-09-06T15:36:33.983" v="1" actId="27636"/>
        <pc:sldMkLst>
          <pc:docMk/>
          <pc:sldMk cId="1762226801" sldId="2146846817"/>
        </pc:sldMkLst>
        <pc:spChg chg="mod">
          <ac:chgData name="Giust, Fabio (Nokia - DE/Munich)" userId="4032e17e-121c-4a4e-b875-df2f68eb573c" providerId="ADAL" clId="{D7C4142F-1F4B-4BCF-8311-A804715C3DB4}" dt="2022-09-06T15:36:33.983" v="1" actId="27636"/>
          <ac:spMkLst>
            <pc:docMk/>
            <pc:sldMk cId="1762226801" sldId="2146846817"/>
            <ac:spMk id="4" creationId="{CD72C33D-DF40-4601-AF02-8DFD5A6EA958}"/>
          </ac:spMkLst>
        </pc:spChg>
      </pc:sldChg>
      <pc:sldChg chg="del">
        <pc:chgData name="Giust, Fabio (Nokia - DE/Munich)" userId="4032e17e-121c-4a4e-b875-df2f68eb573c" providerId="ADAL" clId="{D7C4142F-1F4B-4BCF-8311-A804715C3DB4}" dt="2022-09-06T15:36:55.446" v="4" actId="47"/>
        <pc:sldMkLst>
          <pc:docMk/>
          <pc:sldMk cId="809243930" sldId="2146846881"/>
        </pc:sldMkLst>
      </pc:sldChg>
      <pc:sldChg chg="modSp add mod">
        <pc:chgData name="Giust, Fabio (Nokia - DE/Munich)" userId="4032e17e-121c-4a4e-b875-df2f68eb573c" providerId="ADAL" clId="{D7C4142F-1F4B-4BCF-8311-A804715C3DB4}" dt="2022-09-07T08:10:10.758" v="763" actId="20577"/>
        <pc:sldMkLst>
          <pc:docMk/>
          <pc:sldMk cId="4241780383" sldId="2146846932"/>
        </pc:sldMkLst>
        <pc:spChg chg="mod">
          <ac:chgData name="Giust, Fabio (Nokia - DE/Munich)" userId="4032e17e-121c-4a4e-b875-df2f68eb573c" providerId="ADAL" clId="{D7C4142F-1F4B-4BCF-8311-A804715C3DB4}" dt="2022-09-07T08:10:10.758" v="763" actId="20577"/>
          <ac:spMkLst>
            <pc:docMk/>
            <pc:sldMk cId="4241780383" sldId="2146846932"/>
            <ac:spMk id="4" creationId="{CD72C33D-DF40-4601-AF02-8DFD5A6EA958}"/>
          </ac:spMkLst>
        </pc:spChg>
      </pc:sldChg>
      <pc:sldChg chg="addSp delSp modSp add mod">
        <pc:chgData name="Giust, Fabio (Nokia - DE/Munich)" userId="4032e17e-121c-4a4e-b875-df2f68eb573c" providerId="ADAL" clId="{D7C4142F-1F4B-4BCF-8311-A804715C3DB4}" dt="2022-09-07T08:09:18.309" v="736" actId="1035"/>
        <pc:sldMkLst>
          <pc:docMk/>
          <pc:sldMk cId="1913528199" sldId="2146846934"/>
        </pc:sldMkLst>
        <pc:spChg chg="mod">
          <ac:chgData name="Giust, Fabio (Nokia - DE/Munich)" userId="4032e17e-121c-4a4e-b875-df2f68eb573c" providerId="ADAL" clId="{D7C4142F-1F4B-4BCF-8311-A804715C3DB4}" dt="2022-09-07T08:08:31.175" v="685" actId="404"/>
          <ac:spMkLst>
            <pc:docMk/>
            <pc:sldMk cId="1913528199" sldId="2146846934"/>
            <ac:spMk id="4" creationId="{FC0D3EA9-8686-465E-AF3E-02775AA807DF}"/>
          </ac:spMkLst>
        </pc:spChg>
        <pc:spChg chg="mod">
          <ac:chgData name="Giust, Fabio (Nokia - DE/Munich)" userId="4032e17e-121c-4a4e-b875-df2f68eb573c" providerId="ADAL" clId="{D7C4142F-1F4B-4BCF-8311-A804715C3DB4}" dt="2022-09-07T08:08:37.280" v="686" actId="1076"/>
          <ac:spMkLst>
            <pc:docMk/>
            <pc:sldMk cId="1913528199" sldId="2146846934"/>
            <ac:spMk id="5" creationId="{5D83ADCE-3EEB-4671-ADD3-A5E156AD3F9D}"/>
          </ac:spMkLst>
        </pc:spChg>
        <pc:spChg chg="mod">
          <ac:chgData name="Giust, Fabio (Nokia - DE/Munich)" userId="4032e17e-121c-4a4e-b875-df2f68eb573c" providerId="ADAL" clId="{D7C4142F-1F4B-4BCF-8311-A804715C3DB4}" dt="2022-09-07T07:37:54.734" v="72" actId="1076"/>
          <ac:spMkLst>
            <pc:docMk/>
            <pc:sldMk cId="1913528199" sldId="2146846934"/>
            <ac:spMk id="6" creationId="{E27FA666-4C21-4662-BFEE-7816B22DAA4D}"/>
          </ac:spMkLst>
        </pc:spChg>
        <pc:spChg chg="del">
          <ac:chgData name="Giust, Fabio (Nokia - DE/Munich)" userId="4032e17e-121c-4a4e-b875-df2f68eb573c" providerId="ADAL" clId="{D7C4142F-1F4B-4BCF-8311-A804715C3DB4}" dt="2022-09-07T07:36:43.592" v="56" actId="478"/>
          <ac:spMkLst>
            <pc:docMk/>
            <pc:sldMk cId="1913528199" sldId="2146846934"/>
            <ac:spMk id="7" creationId="{252BA850-E195-4D03-9C46-4715B64A73E3}"/>
          </ac:spMkLst>
        </pc:spChg>
        <pc:spChg chg="del">
          <ac:chgData name="Giust, Fabio (Nokia - DE/Munich)" userId="4032e17e-121c-4a4e-b875-df2f68eb573c" providerId="ADAL" clId="{D7C4142F-1F4B-4BCF-8311-A804715C3DB4}" dt="2022-09-07T07:36:45.896" v="57" actId="478"/>
          <ac:spMkLst>
            <pc:docMk/>
            <pc:sldMk cId="1913528199" sldId="2146846934"/>
            <ac:spMk id="8" creationId="{C8D809B3-F233-4EAB-BA05-7AC92FB85BF5}"/>
          </ac:spMkLst>
        </pc:spChg>
        <pc:spChg chg="del">
          <ac:chgData name="Giust, Fabio (Nokia - DE/Munich)" userId="4032e17e-121c-4a4e-b875-df2f68eb573c" providerId="ADAL" clId="{D7C4142F-1F4B-4BCF-8311-A804715C3DB4}" dt="2022-09-07T07:36:51.721" v="59" actId="478"/>
          <ac:spMkLst>
            <pc:docMk/>
            <pc:sldMk cId="1913528199" sldId="2146846934"/>
            <ac:spMk id="9" creationId="{CDDA1375-DAEA-48D0-B5E0-64528A9068EF}"/>
          </ac:spMkLst>
        </pc:spChg>
        <pc:spChg chg="del">
          <ac:chgData name="Giust, Fabio (Nokia - DE/Munich)" userId="4032e17e-121c-4a4e-b875-df2f68eb573c" providerId="ADAL" clId="{D7C4142F-1F4B-4BCF-8311-A804715C3DB4}" dt="2022-09-07T07:36:49.833" v="58" actId="478"/>
          <ac:spMkLst>
            <pc:docMk/>
            <pc:sldMk cId="1913528199" sldId="2146846934"/>
            <ac:spMk id="10" creationId="{4A1CB992-2612-43C5-9630-3AEB4CFF0A99}"/>
          </ac:spMkLst>
        </pc:spChg>
        <pc:spChg chg="add mod">
          <ac:chgData name="Giust, Fabio (Nokia - DE/Munich)" userId="4032e17e-121c-4a4e-b875-df2f68eb573c" providerId="ADAL" clId="{D7C4142F-1F4B-4BCF-8311-A804715C3DB4}" dt="2022-09-07T08:08:43.167" v="687" actId="1076"/>
          <ac:spMkLst>
            <pc:docMk/>
            <pc:sldMk cId="1913528199" sldId="2146846934"/>
            <ac:spMk id="11" creationId="{3458A2CE-CAD7-4371-9632-EC7A0C99A135}"/>
          </ac:spMkLst>
        </pc:spChg>
        <pc:spChg chg="add mod">
          <ac:chgData name="Giust, Fabio (Nokia - DE/Munich)" userId="4032e17e-121c-4a4e-b875-df2f68eb573c" providerId="ADAL" clId="{D7C4142F-1F4B-4BCF-8311-A804715C3DB4}" dt="2022-09-07T07:38:07.813" v="75" actId="207"/>
          <ac:spMkLst>
            <pc:docMk/>
            <pc:sldMk cId="1913528199" sldId="2146846934"/>
            <ac:spMk id="12" creationId="{77FE6F00-E3DF-4184-AAB8-71F349E0AAFF}"/>
          </ac:spMkLst>
        </pc:spChg>
        <pc:spChg chg="add mod">
          <ac:chgData name="Giust, Fabio (Nokia - DE/Munich)" userId="4032e17e-121c-4a4e-b875-df2f68eb573c" providerId="ADAL" clId="{D7C4142F-1F4B-4BCF-8311-A804715C3DB4}" dt="2022-09-07T08:08:54.509" v="700" actId="1036"/>
          <ac:spMkLst>
            <pc:docMk/>
            <pc:sldMk cId="1913528199" sldId="2146846934"/>
            <ac:spMk id="13" creationId="{8028F187-88E8-428A-A948-B298266A61A8}"/>
          </ac:spMkLst>
        </pc:spChg>
        <pc:spChg chg="add mod">
          <ac:chgData name="Giust, Fabio (Nokia - DE/Munich)" userId="4032e17e-121c-4a4e-b875-df2f68eb573c" providerId="ADAL" clId="{D7C4142F-1F4B-4BCF-8311-A804715C3DB4}" dt="2022-09-07T08:08:59.457" v="705" actId="1035"/>
          <ac:spMkLst>
            <pc:docMk/>
            <pc:sldMk cId="1913528199" sldId="2146846934"/>
            <ac:spMk id="14" creationId="{89DE11F4-B79F-4B51-A2B2-1509A507CA7C}"/>
          </ac:spMkLst>
        </pc:spChg>
        <pc:spChg chg="add mod">
          <ac:chgData name="Giust, Fabio (Nokia - DE/Munich)" userId="4032e17e-121c-4a4e-b875-df2f68eb573c" providerId="ADAL" clId="{D7C4142F-1F4B-4BCF-8311-A804715C3DB4}" dt="2022-09-07T08:08:59.457" v="705" actId="1035"/>
          <ac:spMkLst>
            <pc:docMk/>
            <pc:sldMk cId="1913528199" sldId="2146846934"/>
            <ac:spMk id="15" creationId="{781F9AC9-2C66-46FB-BE25-88D9DF402494}"/>
          </ac:spMkLst>
        </pc:spChg>
        <pc:spChg chg="add mod">
          <ac:chgData name="Giust, Fabio (Nokia - DE/Munich)" userId="4032e17e-121c-4a4e-b875-df2f68eb573c" providerId="ADAL" clId="{D7C4142F-1F4B-4BCF-8311-A804715C3DB4}" dt="2022-09-07T08:09:18.309" v="736" actId="1035"/>
          <ac:spMkLst>
            <pc:docMk/>
            <pc:sldMk cId="1913528199" sldId="2146846934"/>
            <ac:spMk id="16" creationId="{615FB3A6-4D13-4985-B5FC-4E0D2B52B143}"/>
          </ac:spMkLst>
        </pc:spChg>
        <pc:spChg chg="add mod">
          <ac:chgData name="Giust, Fabio (Nokia - DE/Munich)" userId="4032e17e-121c-4a4e-b875-df2f68eb573c" providerId="ADAL" clId="{D7C4142F-1F4B-4BCF-8311-A804715C3DB4}" dt="2022-09-07T08:09:15.557" v="728" actId="1035"/>
          <ac:spMkLst>
            <pc:docMk/>
            <pc:sldMk cId="1913528199" sldId="2146846934"/>
            <ac:spMk id="17" creationId="{926581CA-BA99-472D-A096-92B68FF792BF}"/>
          </ac:spMkLst>
        </pc:spChg>
        <pc:spChg chg="add mod">
          <ac:chgData name="Giust, Fabio (Nokia - DE/Munich)" userId="4032e17e-121c-4a4e-b875-df2f68eb573c" providerId="ADAL" clId="{D7C4142F-1F4B-4BCF-8311-A804715C3DB4}" dt="2022-09-07T08:09:12.298" v="726" actId="1035"/>
          <ac:spMkLst>
            <pc:docMk/>
            <pc:sldMk cId="1913528199" sldId="2146846934"/>
            <ac:spMk id="18" creationId="{8B7FB87F-6744-49B5-9C60-EF19CC8F9527}"/>
          </ac:spMkLst>
        </pc:spChg>
        <pc:spChg chg="add mod">
          <ac:chgData name="Giust, Fabio (Nokia - DE/Munich)" userId="4032e17e-121c-4a4e-b875-df2f68eb573c" providerId="ADAL" clId="{D7C4142F-1F4B-4BCF-8311-A804715C3DB4}" dt="2022-09-07T08:09:07.086" v="711" actId="1036"/>
          <ac:spMkLst>
            <pc:docMk/>
            <pc:sldMk cId="1913528199" sldId="2146846934"/>
            <ac:spMk id="19" creationId="{56CFD6A5-7E17-4E33-83AD-5C9B969B89E6}"/>
          </ac:spMkLst>
        </pc:spChg>
        <pc:spChg chg="add mod">
          <ac:chgData name="Giust, Fabio (Nokia - DE/Munich)" userId="4032e17e-121c-4a4e-b875-df2f68eb573c" providerId="ADAL" clId="{D7C4142F-1F4B-4BCF-8311-A804715C3DB4}" dt="2022-09-07T08:08:59.457" v="705" actId="1035"/>
          <ac:spMkLst>
            <pc:docMk/>
            <pc:sldMk cId="1913528199" sldId="2146846934"/>
            <ac:spMk id="20" creationId="{133FEFFE-40C8-4B1F-86F6-0AC13E1A63AF}"/>
          </ac:spMkLst>
        </pc:spChg>
        <pc:spChg chg="add mod">
          <ac:chgData name="Giust, Fabio (Nokia - DE/Munich)" userId="4032e17e-121c-4a4e-b875-df2f68eb573c" providerId="ADAL" clId="{D7C4142F-1F4B-4BCF-8311-A804715C3DB4}" dt="2022-09-07T08:08:59.457" v="705" actId="1035"/>
          <ac:spMkLst>
            <pc:docMk/>
            <pc:sldMk cId="1913528199" sldId="2146846934"/>
            <ac:spMk id="21" creationId="{5259DD4B-A260-4356-A0AC-0C6D39B97B05}"/>
          </ac:spMkLst>
        </pc:spChg>
      </pc:sldChg>
    </pc:docChg>
  </pc:docChgLst>
  <pc:docChgLst>
    <pc:chgData name="Shen, Sherry (NSB - CN/Beijing)" userId="acf2e5cf-b8b4-4ce6-81c0-0dc594513efe" providerId="ADAL" clId="{C193F3A3-51FB-4061-9999-7156BB8AE61F}"/>
    <pc:docChg chg="undo custSel modSld">
      <pc:chgData name="Shen, Sherry (NSB - CN/Beijing)" userId="acf2e5cf-b8b4-4ce6-81c0-0dc594513efe" providerId="ADAL" clId="{C193F3A3-51FB-4061-9999-7156BB8AE61F}" dt="2020-05-01T11:53:23.552" v="120" actId="6549"/>
      <pc:docMkLst>
        <pc:docMk/>
      </pc:docMkLst>
      <pc:sldChg chg="modSp">
        <pc:chgData name="Shen, Sherry (NSB - CN/Beijing)" userId="acf2e5cf-b8b4-4ce6-81c0-0dc594513efe" providerId="ADAL" clId="{C193F3A3-51FB-4061-9999-7156BB8AE61F}" dt="2020-05-01T11:47:42.157" v="48" actId="1076"/>
        <pc:sldMkLst>
          <pc:docMk/>
          <pc:sldMk cId="1709557886" sldId="279"/>
        </pc:sldMkLst>
        <pc:spChg chg="mod">
          <ac:chgData name="Shen, Sherry (NSB - CN/Beijing)" userId="acf2e5cf-b8b4-4ce6-81c0-0dc594513efe" providerId="ADAL" clId="{C193F3A3-51FB-4061-9999-7156BB8AE61F}" dt="2020-05-01T11:47:42.157" v="48" actId="1076"/>
          <ac:spMkLst>
            <pc:docMk/>
            <pc:sldMk cId="1709557886" sldId="279"/>
            <ac:spMk id="5" creationId="{A560F786-3A6C-41F0-99EF-DFF4DE7F777C}"/>
          </ac:spMkLst>
        </pc:spChg>
      </pc:sldChg>
      <pc:sldChg chg="modSp">
        <pc:chgData name="Shen, Sherry (NSB - CN/Beijing)" userId="acf2e5cf-b8b4-4ce6-81c0-0dc594513efe" providerId="ADAL" clId="{C193F3A3-51FB-4061-9999-7156BB8AE61F}" dt="2020-05-01T11:50:18.173" v="73" actId="27636"/>
        <pc:sldMkLst>
          <pc:docMk/>
          <pc:sldMk cId="1172224137" sldId="287"/>
        </pc:sldMkLst>
        <pc:spChg chg="mod">
          <ac:chgData name="Shen, Sherry (NSB - CN/Beijing)" userId="acf2e5cf-b8b4-4ce6-81c0-0dc594513efe" providerId="ADAL" clId="{C193F3A3-51FB-4061-9999-7156BB8AE61F}" dt="2020-05-01T11:50:18.173" v="73" actId="27636"/>
          <ac:spMkLst>
            <pc:docMk/>
            <pc:sldMk cId="1172224137" sldId="287"/>
            <ac:spMk id="5" creationId="{A560F786-3A6C-41F0-99EF-DFF4DE7F777C}"/>
          </ac:spMkLst>
        </pc:spChg>
      </pc:sldChg>
      <pc:sldChg chg="modSp">
        <pc:chgData name="Shen, Sherry (NSB - CN/Beijing)" userId="acf2e5cf-b8b4-4ce6-81c0-0dc594513efe" providerId="ADAL" clId="{C193F3A3-51FB-4061-9999-7156BB8AE61F}" dt="2020-05-01T11:53:23.552" v="120" actId="6549"/>
        <pc:sldMkLst>
          <pc:docMk/>
          <pc:sldMk cId="3834355431" sldId="297"/>
        </pc:sldMkLst>
        <pc:spChg chg="mod">
          <ac:chgData name="Shen, Sherry (NSB - CN/Beijing)" userId="acf2e5cf-b8b4-4ce6-81c0-0dc594513efe" providerId="ADAL" clId="{C193F3A3-51FB-4061-9999-7156BB8AE61F}" dt="2020-05-01T11:53:23.552" v="120" actId="6549"/>
          <ac:spMkLst>
            <pc:docMk/>
            <pc:sldMk cId="3834355431" sldId="297"/>
            <ac:spMk id="5" creationId="{A560F786-3A6C-41F0-99EF-DFF4DE7F777C}"/>
          </ac:spMkLst>
        </pc:spChg>
      </pc:sldChg>
    </pc:docChg>
  </pc:docChgLst>
  <pc:docChgLst>
    <pc:chgData name="Rainer Liebhart (Nokia)" userId="9d27e965-bed7-441e-8c07-02c758a9258d" providerId="ADAL" clId="{C7FD48BA-5BA9-4ED9-AAEE-9EFFDD42A379}"/>
    <pc:docChg chg="undo custSel delSld modSld">
      <pc:chgData name="Rainer Liebhart (Nokia)" userId="9d27e965-bed7-441e-8c07-02c758a9258d" providerId="ADAL" clId="{C7FD48BA-5BA9-4ED9-AAEE-9EFFDD42A379}" dt="2022-12-05T11:17:52.598" v="710" actId="403"/>
      <pc:docMkLst>
        <pc:docMk/>
      </pc:docMkLst>
      <pc:sldChg chg="del">
        <pc:chgData name="Rainer Liebhart (Nokia)" userId="9d27e965-bed7-441e-8c07-02c758a9258d" providerId="ADAL" clId="{C7FD48BA-5BA9-4ED9-AAEE-9EFFDD42A379}" dt="2022-12-05T11:14:40.333" v="495" actId="47"/>
        <pc:sldMkLst>
          <pc:docMk/>
          <pc:sldMk cId="2093721602" sldId="2134805360"/>
        </pc:sldMkLst>
      </pc:sldChg>
      <pc:sldChg chg="del">
        <pc:chgData name="Rainer Liebhart (Nokia)" userId="9d27e965-bed7-441e-8c07-02c758a9258d" providerId="ADAL" clId="{C7FD48BA-5BA9-4ED9-AAEE-9EFFDD42A379}" dt="2022-12-05T07:13:02.809" v="0" actId="47"/>
        <pc:sldMkLst>
          <pc:docMk/>
          <pc:sldMk cId="3189624576" sldId="2134805455"/>
        </pc:sldMkLst>
      </pc:sldChg>
      <pc:sldChg chg="modSp mod">
        <pc:chgData name="Rainer Liebhart (Nokia)" userId="9d27e965-bed7-441e-8c07-02c758a9258d" providerId="ADAL" clId="{C7FD48BA-5BA9-4ED9-AAEE-9EFFDD42A379}" dt="2022-12-05T07:27:49.363" v="484" actId="255"/>
        <pc:sldMkLst>
          <pc:docMk/>
          <pc:sldMk cId="136686226" sldId="2134805458"/>
        </pc:sldMkLst>
        <pc:spChg chg="mod">
          <ac:chgData name="Rainer Liebhart (Nokia)" userId="9d27e965-bed7-441e-8c07-02c758a9258d" providerId="ADAL" clId="{C7FD48BA-5BA9-4ED9-AAEE-9EFFDD42A379}" dt="2022-12-05T07:27:49.363" v="484" actId="255"/>
          <ac:spMkLst>
            <pc:docMk/>
            <pc:sldMk cId="136686226" sldId="2134805458"/>
            <ac:spMk id="6" creationId="{2E20DBE3-132B-4E49-9B12-D7A9DE1B1D38}"/>
          </ac:spMkLst>
        </pc:spChg>
      </pc:sldChg>
      <pc:sldChg chg="modSp mod">
        <pc:chgData name="Rainer Liebhart (Nokia)" userId="9d27e965-bed7-441e-8c07-02c758a9258d" providerId="ADAL" clId="{C7FD48BA-5BA9-4ED9-AAEE-9EFFDD42A379}" dt="2022-12-05T11:17:52.598" v="710" actId="403"/>
        <pc:sldMkLst>
          <pc:docMk/>
          <pc:sldMk cId="739015424" sldId="2134805526"/>
        </pc:sldMkLst>
        <pc:spChg chg="mod">
          <ac:chgData name="Rainer Liebhart (Nokia)" userId="9d27e965-bed7-441e-8c07-02c758a9258d" providerId="ADAL" clId="{C7FD48BA-5BA9-4ED9-AAEE-9EFFDD42A379}" dt="2022-12-05T11:17:52.598" v="710" actId="403"/>
          <ac:spMkLst>
            <pc:docMk/>
            <pc:sldMk cId="739015424" sldId="2134805526"/>
            <ac:spMk id="6" creationId="{2E20DBE3-132B-4E49-9B12-D7A9DE1B1D38}"/>
          </ac:spMkLst>
        </pc:spChg>
      </pc:sldChg>
      <pc:sldChg chg="modSp mod">
        <pc:chgData name="Rainer Liebhart (Nokia)" userId="9d27e965-bed7-441e-8c07-02c758a9258d" providerId="ADAL" clId="{C7FD48BA-5BA9-4ED9-AAEE-9EFFDD42A379}" dt="2022-12-05T07:28:47.635" v="491" actId="20577"/>
        <pc:sldMkLst>
          <pc:docMk/>
          <pc:sldMk cId="355742821" sldId="2134805558"/>
        </pc:sldMkLst>
        <pc:spChg chg="mod">
          <ac:chgData name="Rainer Liebhart (Nokia)" userId="9d27e965-bed7-441e-8c07-02c758a9258d" providerId="ADAL" clId="{C7FD48BA-5BA9-4ED9-AAEE-9EFFDD42A379}" dt="2022-12-05T07:28:47.635" v="491" actId="20577"/>
          <ac:spMkLst>
            <pc:docMk/>
            <pc:sldMk cId="355742821" sldId="2134805558"/>
            <ac:spMk id="6" creationId="{2E20DBE3-132B-4E49-9B12-D7A9DE1B1D38}"/>
          </ac:spMkLst>
        </pc:spChg>
      </pc:sldChg>
      <pc:sldChg chg="modSp mod">
        <pc:chgData name="Rainer Liebhart (Nokia)" userId="9d27e965-bed7-441e-8c07-02c758a9258d" providerId="ADAL" clId="{C7FD48BA-5BA9-4ED9-AAEE-9EFFDD42A379}" dt="2022-12-05T07:29:23.355" v="493" actId="2711"/>
        <pc:sldMkLst>
          <pc:docMk/>
          <pc:sldMk cId="3180949346" sldId="2134805563"/>
        </pc:sldMkLst>
        <pc:spChg chg="mod">
          <ac:chgData name="Rainer Liebhart (Nokia)" userId="9d27e965-bed7-441e-8c07-02c758a9258d" providerId="ADAL" clId="{C7FD48BA-5BA9-4ED9-AAEE-9EFFDD42A379}" dt="2022-12-05T07:29:23.355" v="493" actId="2711"/>
          <ac:spMkLst>
            <pc:docMk/>
            <pc:sldMk cId="3180949346" sldId="2134805563"/>
            <ac:spMk id="6" creationId="{2E20DBE3-132B-4E49-9B12-D7A9DE1B1D38}"/>
          </ac:spMkLst>
        </pc:spChg>
      </pc:sldChg>
      <pc:sldChg chg="modSp mod">
        <pc:chgData name="Rainer Liebhart (Nokia)" userId="9d27e965-bed7-441e-8c07-02c758a9258d" providerId="ADAL" clId="{C7FD48BA-5BA9-4ED9-AAEE-9EFFDD42A379}" dt="2022-12-05T07:13:08.740" v="2" actId="27636"/>
        <pc:sldMkLst>
          <pc:docMk/>
          <pc:sldMk cId="990824371" sldId="2134805685"/>
        </pc:sldMkLst>
        <pc:spChg chg="mod">
          <ac:chgData name="Rainer Liebhart (Nokia)" userId="9d27e965-bed7-441e-8c07-02c758a9258d" providerId="ADAL" clId="{C7FD48BA-5BA9-4ED9-AAEE-9EFFDD42A379}" dt="2022-12-05T07:13:08.740" v="2" actId="27636"/>
          <ac:spMkLst>
            <pc:docMk/>
            <pc:sldMk cId="990824371" sldId="2134805685"/>
            <ac:spMk id="4" creationId="{CD72C33D-DF40-4601-AF02-8DFD5A6EA958}"/>
          </ac:spMkLst>
        </pc:spChg>
      </pc:sldChg>
      <pc:sldChg chg="del">
        <pc:chgData name="Rainer Liebhart (Nokia)" userId="9d27e965-bed7-441e-8c07-02c758a9258d" providerId="ADAL" clId="{C7FD48BA-5BA9-4ED9-AAEE-9EFFDD42A379}" dt="2022-12-05T11:14:42.814" v="496" actId="47"/>
        <pc:sldMkLst>
          <pc:docMk/>
          <pc:sldMk cId="2663340322" sldId="2146846852"/>
        </pc:sldMkLst>
      </pc:sldChg>
      <pc:sldChg chg="del">
        <pc:chgData name="Rainer Liebhart (Nokia)" userId="9d27e965-bed7-441e-8c07-02c758a9258d" providerId="ADAL" clId="{C7FD48BA-5BA9-4ED9-AAEE-9EFFDD42A379}" dt="2022-12-05T07:13:04.240" v="1" actId="47"/>
        <pc:sldMkLst>
          <pc:docMk/>
          <pc:sldMk cId="3429488682" sldId="2146846897"/>
        </pc:sldMkLst>
      </pc:sldChg>
      <pc:sldChg chg="modSp del mod">
        <pc:chgData name="Rainer Liebhart (Nokia)" userId="9d27e965-bed7-441e-8c07-02c758a9258d" providerId="ADAL" clId="{C7FD48BA-5BA9-4ED9-AAEE-9EFFDD42A379}" dt="2022-12-05T11:16:28.745" v="540" actId="47"/>
        <pc:sldMkLst>
          <pc:docMk/>
          <pc:sldMk cId="1012079501" sldId="2146846973"/>
        </pc:sldMkLst>
        <pc:spChg chg="mod">
          <ac:chgData name="Rainer Liebhart (Nokia)" userId="9d27e965-bed7-441e-8c07-02c758a9258d" providerId="ADAL" clId="{C7FD48BA-5BA9-4ED9-AAEE-9EFFDD42A379}" dt="2022-12-05T07:28:00.771" v="486" actId="255"/>
          <ac:spMkLst>
            <pc:docMk/>
            <pc:sldMk cId="1012079501" sldId="2146846973"/>
            <ac:spMk id="6" creationId="{2E20DBE3-132B-4E49-9B12-D7A9DE1B1D38}"/>
          </ac:spMkLst>
        </pc:spChg>
      </pc:sldChg>
      <pc:sldChg chg="modSp mod">
        <pc:chgData name="Rainer Liebhart (Nokia)" userId="9d27e965-bed7-441e-8c07-02c758a9258d" providerId="ADAL" clId="{C7FD48BA-5BA9-4ED9-AAEE-9EFFDD42A379}" dt="2022-12-05T11:15:21.433" v="537" actId="20577"/>
        <pc:sldMkLst>
          <pc:docMk/>
          <pc:sldMk cId="2491540145" sldId="2146846974"/>
        </pc:sldMkLst>
        <pc:spChg chg="mod">
          <ac:chgData name="Rainer Liebhart (Nokia)" userId="9d27e965-bed7-441e-8c07-02c758a9258d" providerId="ADAL" clId="{C7FD48BA-5BA9-4ED9-AAEE-9EFFDD42A379}" dt="2022-12-05T11:15:21.433" v="537" actId="20577"/>
          <ac:spMkLst>
            <pc:docMk/>
            <pc:sldMk cId="2491540145" sldId="2146846974"/>
            <ac:spMk id="6" creationId="{2E20DBE3-132B-4E49-9B12-D7A9DE1B1D38}"/>
          </ac:spMkLst>
        </pc:spChg>
      </pc:sldChg>
      <pc:sldChg chg="modSp mod">
        <pc:chgData name="Rainer Liebhart (Nokia)" userId="9d27e965-bed7-441e-8c07-02c758a9258d" providerId="ADAL" clId="{C7FD48BA-5BA9-4ED9-AAEE-9EFFDD42A379}" dt="2022-12-05T11:15:35.950" v="539" actId="255"/>
        <pc:sldMkLst>
          <pc:docMk/>
          <pc:sldMk cId="2491540145" sldId="2146846976"/>
        </pc:sldMkLst>
        <pc:spChg chg="mod">
          <ac:chgData name="Rainer Liebhart (Nokia)" userId="9d27e965-bed7-441e-8c07-02c758a9258d" providerId="ADAL" clId="{C7FD48BA-5BA9-4ED9-AAEE-9EFFDD42A379}" dt="2022-12-05T11:15:35.950" v="539" actId="255"/>
          <ac:spMkLst>
            <pc:docMk/>
            <pc:sldMk cId="2491540145" sldId="2146846976"/>
            <ac:spMk id="6" creationId="{2E20DBE3-132B-4E49-9B12-D7A9DE1B1D38}"/>
          </ac:spMkLst>
        </pc:spChg>
      </pc:sldChg>
      <pc:sldChg chg="del">
        <pc:chgData name="Rainer Liebhart (Nokia)" userId="9d27e965-bed7-441e-8c07-02c758a9258d" providerId="ADAL" clId="{C7FD48BA-5BA9-4ED9-AAEE-9EFFDD42A379}" dt="2022-12-05T07:13:14.457" v="3" actId="47"/>
        <pc:sldMkLst>
          <pc:docMk/>
          <pc:sldMk cId="9829993" sldId="2147471681"/>
        </pc:sldMkLst>
      </pc:sldChg>
    </pc:docChg>
  </pc:docChgLst>
  <pc:docChgLst>
    <pc:chgData name="Isomaki, Markus (Nokia - FI/Espoo)" userId="S::markus.isomaki@nokia-bell-labs.com::e09dec62-93e3-4c70-8b77-3ffff629182a" providerId="AD" clId="Web-{31F3330B-AE72-E23D-76AD-C464367A8424}"/>
    <pc:docChg chg="addSld modSld">
      <pc:chgData name="Isomaki, Markus (Nokia - FI/Espoo)" userId="S::markus.isomaki@nokia-bell-labs.com::e09dec62-93e3-4c70-8b77-3ffff629182a" providerId="AD" clId="Web-{31F3330B-AE72-E23D-76AD-C464367A8424}" dt="2022-06-10T11:24:02.948" v="112" actId="20577"/>
      <pc:docMkLst>
        <pc:docMk/>
      </pc:docMkLst>
      <pc:sldChg chg="modSp add replId">
        <pc:chgData name="Isomaki, Markus (Nokia - FI/Espoo)" userId="S::markus.isomaki@nokia-bell-labs.com::e09dec62-93e3-4c70-8b77-3ffff629182a" providerId="AD" clId="Web-{31F3330B-AE72-E23D-76AD-C464367A8424}" dt="2022-06-10T11:24:02.948" v="112" actId="20577"/>
        <pc:sldMkLst>
          <pc:docMk/>
          <pc:sldMk cId="60323065" sldId="2146846882"/>
        </pc:sldMkLst>
        <pc:spChg chg="mod">
          <ac:chgData name="Isomaki, Markus (Nokia - FI/Espoo)" userId="S::markus.isomaki@nokia-bell-labs.com::e09dec62-93e3-4c70-8b77-3ffff629182a" providerId="AD" clId="Web-{31F3330B-AE72-E23D-76AD-C464367A8424}" dt="2022-06-10T11:24:02.948" v="112" actId="20577"/>
          <ac:spMkLst>
            <pc:docMk/>
            <pc:sldMk cId="60323065" sldId="2146846882"/>
            <ac:spMk id="4" creationId="{FD9B9349-5219-4A4E-8125-7E6F849D4C07}"/>
          </ac:spMkLst>
        </pc:spChg>
      </pc:sldChg>
    </pc:docChg>
  </pc:docChgLst>
  <pc:docChgLst>
    <pc:chgData name="Gupta, Pallab (Nokia - IN/Bangalore)" userId="2373e1e1-8f73-46a5-bf2c-89beccfccabe" providerId="ADAL" clId="{C0D3DF86-50A0-4D94-B875-267F933238F2}"/>
    <pc:docChg chg="addSld delSld modSld">
      <pc:chgData name="Gupta, Pallab (Nokia - IN/Bangalore)" userId="2373e1e1-8f73-46a5-bf2c-89beccfccabe" providerId="ADAL" clId="{C0D3DF86-50A0-4D94-B875-267F933238F2}" dt="2022-03-04T09:27:21.531" v="365" actId="6549"/>
      <pc:docMkLst>
        <pc:docMk/>
      </pc:docMkLst>
      <pc:sldChg chg="modSp del mod">
        <pc:chgData name="Gupta, Pallab (Nokia - IN/Bangalore)" userId="2373e1e1-8f73-46a5-bf2c-89beccfccabe" providerId="ADAL" clId="{C0D3DF86-50A0-4D94-B875-267F933238F2}" dt="2022-03-04T09:23:33.634" v="335" actId="47"/>
        <pc:sldMkLst>
          <pc:docMk/>
          <pc:sldMk cId="1558120283" sldId="2134805530"/>
        </pc:sldMkLst>
        <pc:spChg chg="mod">
          <ac:chgData name="Gupta, Pallab (Nokia - IN/Bangalore)" userId="2373e1e1-8f73-46a5-bf2c-89beccfccabe" providerId="ADAL" clId="{C0D3DF86-50A0-4D94-B875-267F933238F2}" dt="2022-03-04T09:15:13.203" v="37" actId="20577"/>
          <ac:spMkLst>
            <pc:docMk/>
            <pc:sldMk cId="1558120283" sldId="2134805530"/>
            <ac:spMk id="11" creationId="{4530E830-5FE1-4CA0-8A0E-B78352611AD4}"/>
          </ac:spMkLst>
        </pc:spChg>
      </pc:sldChg>
      <pc:sldChg chg="del">
        <pc:chgData name="Gupta, Pallab (Nokia - IN/Bangalore)" userId="2373e1e1-8f73-46a5-bf2c-89beccfccabe" providerId="ADAL" clId="{C0D3DF86-50A0-4D94-B875-267F933238F2}" dt="2022-03-04T09:23:35.927" v="336" actId="47"/>
        <pc:sldMkLst>
          <pc:docMk/>
          <pc:sldMk cId="2747439546" sldId="2134805531"/>
        </pc:sldMkLst>
      </pc:sldChg>
      <pc:sldChg chg="del">
        <pc:chgData name="Gupta, Pallab (Nokia - IN/Bangalore)" userId="2373e1e1-8f73-46a5-bf2c-89beccfccabe" providerId="ADAL" clId="{C0D3DF86-50A0-4D94-B875-267F933238F2}" dt="2022-03-04T09:09:11.336" v="1" actId="47"/>
        <pc:sldMkLst>
          <pc:docMk/>
          <pc:sldMk cId="882191783" sldId="2134805561"/>
        </pc:sldMkLst>
      </pc:sldChg>
      <pc:sldChg chg="del">
        <pc:chgData name="Gupta, Pallab (Nokia - IN/Bangalore)" userId="2373e1e1-8f73-46a5-bf2c-89beccfccabe" providerId="ADAL" clId="{C0D3DF86-50A0-4D94-B875-267F933238F2}" dt="2022-03-04T09:10:36.698" v="3" actId="47"/>
        <pc:sldMkLst>
          <pc:docMk/>
          <pc:sldMk cId="2032518352" sldId="2134805562"/>
        </pc:sldMkLst>
      </pc:sldChg>
      <pc:sldChg chg="del">
        <pc:chgData name="Gupta, Pallab (Nokia - IN/Bangalore)" userId="2373e1e1-8f73-46a5-bf2c-89beccfccabe" providerId="ADAL" clId="{C0D3DF86-50A0-4D94-B875-267F933238F2}" dt="2022-03-04T09:10:37.533" v="4" actId="47"/>
        <pc:sldMkLst>
          <pc:docMk/>
          <pc:sldMk cId="1542206252" sldId="2134805563"/>
        </pc:sldMkLst>
      </pc:sldChg>
      <pc:sldChg chg="add">
        <pc:chgData name="Gupta, Pallab (Nokia - IN/Bangalore)" userId="2373e1e1-8f73-46a5-bf2c-89beccfccabe" providerId="ADAL" clId="{C0D3DF86-50A0-4D94-B875-267F933238F2}" dt="2022-03-04T09:09:04.911" v="0"/>
        <pc:sldMkLst>
          <pc:docMk/>
          <pc:sldMk cId="2409029067" sldId="2134805564"/>
        </pc:sldMkLst>
      </pc:sldChg>
      <pc:sldChg chg="add">
        <pc:chgData name="Gupta, Pallab (Nokia - IN/Bangalore)" userId="2373e1e1-8f73-46a5-bf2c-89beccfccabe" providerId="ADAL" clId="{C0D3DF86-50A0-4D94-B875-267F933238F2}" dt="2022-03-04T09:10:31.335" v="2"/>
        <pc:sldMkLst>
          <pc:docMk/>
          <pc:sldMk cId="1432919690" sldId="2134805576"/>
        </pc:sldMkLst>
      </pc:sldChg>
      <pc:sldChg chg="add">
        <pc:chgData name="Gupta, Pallab (Nokia - IN/Bangalore)" userId="2373e1e1-8f73-46a5-bf2c-89beccfccabe" providerId="ADAL" clId="{C0D3DF86-50A0-4D94-B875-267F933238F2}" dt="2022-03-04T09:10:31.335" v="2"/>
        <pc:sldMkLst>
          <pc:docMk/>
          <pc:sldMk cId="1684592820" sldId="2134805577"/>
        </pc:sldMkLst>
      </pc:sldChg>
      <pc:sldChg chg="add">
        <pc:chgData name="Gupta, Pallab (Nokia - IN/Bangalore)" userId="2373e1e1-8f73-46a5-bf2c-89beccfccabe" providerId="ADAL" clId="{C0D3DF86-50A0-4D94-B875-267F933238F2}" dt="2022-03-04T09:10:31.335" v="2"/>
        <pc:sldMkLst>
          <pc:docMk/>
          <pc:sldMk cId="2662172997" sldId="2134805578"/>
        </pc:sldMkLst>
      </pc:sldChg>
      <pc:sldChg chg="del">
        <pc:chgData name="Gupta, Pallab (Nokia - IN/Bangalore)" userId="2373e1e1-8f73-46a5-bf2c-89beccfccabe" providerId="ADAL" clId="{C0D3DF86-50A0-4D94-B875-267F933238F2}" dt="2022-03-04T09:12:11.988" v="27" actId="47"/>
        <pc:sldMkLst>
          <pc:docMk/>
          <pc:sldMk cId="708409047" sldId="2134805588"/>
        </pc:sldMkLst>
      </pc:sldChg>
      <pc:sldChg chg="modSp mod">
        <pc:chgData name="Gupta, Pallab (Nokia - IN/Bangalore)" userId="2373e1e1-8f73-46a5-bf2c-89beccfccabe" providerId="ADAL" clId="{C0D3DF86-50A0-4D94-B875-267F933238F2}" dt="2022-03-04T09:12:18.688" v="28" actId="6549"/>
        <pc:sldMkLst>
          <pc:docMk/>
          <pc:sldMk cId="493333457" sldId="2134805598"/>
        </pc:sldMkLst>
        <pc:spChg chg="mod">
          <ac:chgData name="Gupta, Pallab (Nokia - IN/Bangalore)" userId="2373e1e1-8f73-46a5-bf2c-89beccfccabe" providerId="ADAL" clId="{C0D3DF86-50A0-4D94-B875-267F933238F2}" dt="2022-03-04T09:12:18.688" v="28" actId="6549"/>
          <ac:spMkLst>
            <pc:docMk/>
            <pc:sldMk cId="493333457" sldId="2134805598"/>
            <ac:spMk id="4" creationId="{B91515A7-343D-47E8-82B8-D58ED83CD3B1}"/>
          </ac:spMkLst>
        </pc:spChg>
      </pc:sldChg>
      <pc:sldChg chg="modSp mod">
        <pc:chgData name="Gupta, Pallab (Nokia - IN/Bangalore)" userId="2373e1e1-8f73-46a5-bf2c-89beccfccabe" providerId="ADAL" clId="{C0D3DF86-50A0-4D94-B875-267F933238F2}" dt="2022-03-04T09:11:25.280" v="26" actId="6549"/>
        <pc:sldMkLst>
          <pc:docMk/>
          <pc:sldMk cId="2563611883" sldId="2134805602"/>
        </pc:sldMkLst>
        <pc:spChg chg="mod">
          <ac:chgData name="Gupta, Pallab (Nokia - IN/Bangalore)" userId="2373e1e1-8f73-46a5-bf2c-89beccfccabe" providerId="ADAL" clId="{C0D3DF86-50A0-4D94-B875-267F933238F2}" dt="2022-03-04T09:11:25.280" v="26" actId="6549"/>
          <ac:spMkLst>
            <pc:docMk/>
            <pc:sldMk cId="2563611883" sldId="2134805602"/>
            <ac:spMk id="4" creationId="{B91515A7-343D-47E8-82B8-D58ED83CD3B1}"/>
          </ac:spMkLst>
        </pc:spChg>
      </pc:sldChg>
      <pc:sldChg chg="add">
        <pc:chgData name="Gupta, Pallab (Nokia - IN/Bangalore)" userId="2373e1e1-8f73-46a5-bf2c-89beccfccabe" providerId="ADAL" clId="{C0D3DF86-50A0-4D94-B875-267F933238F2}" dt="2022-03-04T09:09:04.911" v="0"/>
        <pc:sldMkLst>
          <pc:docMk/>
          <pc:sldMk cId="1950938178" sldId="2146846800"/>
        </pc:sldMkLst>
      </pc:sldChg>
      <pc:sldChg chg="add">
        <pc:chgData name="Gupta, Pallab (Nokia - IN/Bangalore)" userId="2373e1e1-8f73-46a5-bf2c-89beccfccabe" providerId="ADAL" clId="{C0D3DF86-50A0-4D94-B875-267F933238F2}" dt="2022-03-04T09:10:31.335" v="2"/>
        <pc:sldMkLst>
          <pc:docMk/>
          <pc:sldMk cId="2576700197" sldId="2146846801"/>
        </pc:sldMkLst>
      </pc:sldChg>
      <pc:sldChg chg="add">
        <pc:chgData name="Gupta, Pallab (Nokia - IN/Bangalore)" userId="2373e1e1-8f73-46a5-bf2c-89beccfccabe" providerId="ADAL" clId="{C0D3DF86-50A0-4D94-B875-267F933238F2}" dt="2022-03-04T09:11:03.584" v="5"/>
        <pc:sldMkLst>
          <pc:docMk/>
          <pc:sldMk cId="1171493820" sldId="2146846802"/>
        </pc:sldMkLst>
      </pc:sldChg>
      <pc:sldChg chg="add">
        <pc:chgData name="Gupta, Pallab (Nokia - IN/Bangalore)" userId="2373e1e1-8f73-46a5-bf2c-89beccfccabe" providerId="ADAL" clId="{C0D3DF86-50A0-4D94-B875-267F933238F2}" dt="2022-03-04T09:11:03.584" v="5"/>
        <pc:sldMkLst>
          <pc:docMk/>
          <pc:sldMk cId="248490523" sldId="2146846803"/>
        </pc:sldMkLst>
      </pc:sldChg>
      <pc:sldChg chg="modSp add mod">
        <pc:chgData name="Gupta, Pallab (Nokia - IN/Bangalore)" userId="2373e1e1-8f73-46a5-bf2c-89beccfccabe" providerId="ADAL" clId="{C0D3DF86-50A0-4D94-B875-267F933238F2}" dt="2022-03-04T09:27:21.531" v="365" actId="6549"/>
        <pc:sldMkLst>
          <pc:docMk/>
          <pc:sldMk cId="2008317962" sldId="2146846804"/>
        </pc:sldMkLst>
        <pc:spChg chg="mod">
          <ac:chgData name="Gupta, Pallab (Nokia - IN/Bangalore)" userId="2373e1e1-8f73-46a5-bf2c-89beccfccabe" providerId="ADAL" clId="{C0D3DF86-50A0-4D94-B875-267F933238F2}" dt="2022-03-04T09:27:21.531" v="365" actId="6549"/>
          <ac:spMkLst>
            <pc:docMk/>
            <pc:sldMk cId="2008317962" sldId="2146846804"/>
            <ac:spMk id="6" creationId="{2E20DBE3-132B-4E49-9B12-D7A9DE1B1D38}"/>
          </ac:spMkLst>
        </pc:spChg>
        <pc:spChg chg="mod">
          <ac:chgData name="Gupta, Pallab (Nokia - IN/Bangalore)" userId="2373e1e1-8f73-46a5-bf2c-89beccfccabe" providerId="ADAL" clId="{C0D3DF86-50A0-4D94-B875-267F933238F2}" dt="2022-03-04T09:23:45.382" v="344" actId="20577"/>
          <ac:spMkLst>
            <pc:docMk/>
            <pc:sldMk cId="2008317962" sldId="2146846804"/>
            <ac:spMk id="11" creationId="{4530E830-5FE1-4CA0-8A0E-B78352611AD4}"/>
          </ac:spMkLst>
        </pc:spChg>
      </pc:sldChg>
    </pc:docChg>
  </pc:docChgLst>
  <pc:docChgLst>
    <pc:chgData name="Gupta, Pallab (Nokia - IN/Bangalore)" userId="2373e1e1-8f73-46a5-bf2c-89beccfccabe" providerId="ADAL" clId="{25B7770E-6188-4D17-92B2-23D65685F18F}"/>
    <pc:docChg chg="undo custSel addSld modSld">
      <pc:chgData name="Gupta, Pallab (Nokia - IN/Bangalore)" userId="2373e1e1-8f73-46a5-bf2c-89beccfccabe" providerId="ADAL" clId="{25B7770E-6188-4D17-92B2-23D65685F18F}" dt="2021-04-21T06:31:35.777" v="1082" actId="1076"/>
      <pc:docMkLst>
        <pc:docMk/>
      </pc:docMkLst>
      <pc:sldChg chg="addSp delSp modSp mod">
        <pc:chgData name="Gupta, Pallab (Nokia - IN/Bangalore)" userId="2373e1e1-8f73-46a5-bf2c-89beccfccabe" providerId="ADAL" clId="{25B7770E-6188-4D17-92B2-23D65685F18F}" dt="2021-04-21T06:25:51.754" v="347" actId="114"/>
        <pc:sldMkLst>
          <pc:docMk/>
          <pc:sldMk cId="4176047577" sldId="2134805379"/>
        </pc:sldMkLst>
        <pc:spChg chg="mod">
          <ac:chgData name="Gupta, Pallab (Nokia - IN/Bangalore)" userId="2373e1e1-8f73-46a5-bf2c-89beccfccabe" providerId="ADAL" clId="{25B7770E-6188-4D17-92B2-23D65685F18F}" dt="2021-04-21T06:04:22.559" v="5" actId="115"/>
          <ac:spMkLst>
            <pc:docMk/>
            <pc:sldMk cId="4176047577" sldId="2134805379"/>
            <ac:spMk id="2" creationId="{9F31353A-D41F-4CEF-B45F-7706562425B6}"/>
          </ac:spMkLst>
        </pc:spChg>
        <pc:spChg chg="add mod">
          <ac:chgData name="Gupta, Pallab (Nokia - IN/Bangalore)" userId="2373e1e1-8f73-46a5-bf2c-89beccfccabe" providerId="ADAL" clId="{25B7770E-6188-4D17-92B2-23D65685F18F}" dt="2021-04-21T06:25:51.754" v="347" actId="114"/>
          <ac:spMkLst>
            <pc:docMk/>
            <pc:sldMk cId="4176047577" sldId="2134805379"/>
            <ac:spMk id="8" creationId="{A6FE9473-D619-44D5-90D9-CA33713ECD23}"/>
          </ac:spMkLst>
        </pc:spChg>
        <pc:spChg chg="del">
          <ac:chgData name="Gupta, Pallab (Nokia - IN/Bangalore)" userId="2373e1e1-8f73-46a5-bf2c-89beccfccabe" providerId="ADAL" clId="{25B7770E-6188-4D17-92B2-23D65685F18F}" dt="2021-04-21T06:04:32.636" v="6" actId="478"/>
          <ac:spMkLst>
            <pc:docMk/>
            <pc:sldMk cId="4176047577" sldId="2134805379"/>
            <ac:spMk id="11" creationId="{8A9F430C-4E25-4C04-8EA9-859A6775256E}"/>
          </ac:spMkLst>
        </pc:spChg>
        <pc:graphicFrameChg chg="del">
          <ac:chgData name="Gupta, Pallab (Nokia - IN/Bangalore)" userId="2373e1e1-8f73-46a5-bf2c-89beccfccabe" providerId="ADAL" clId="{25B7770E-6188-4D17-92B2-23D65685F18F}" dt="2021-04-21T06:04:34.612" v="7" actId="478"/>
          <ac:graphicFrameMkLst>
            <pc:docMk/>
            <pc:sldMk cId="4176047577" sldId="2134805379"/>
            <ac:graphicFrameMk id="6" creationId="{7633B896-8ED0-4DEB-BD64-A1DA4114BA78}"/>
          </ac:graphicFrameMkLst>
        </pc:graphicFrameChg>
      </pc:sldChg>
      <pc:sldChg chg="addSp delSp modSp add mod">
        <pc:chgData name="Gupta, Pallab (Nokia - IN/Bangalore)" userId="2373e1e1-8f73-46a5-bf2c-89beccfccabe" providerId="ADAL" clId="{25B7770E-6188-4D17-92B2-23D65685F18F}" dt="2021-04-21T06:19:01.666" v="275" actId="1076"/>
        <pc:sldMkLst>
          <pc:docMk/>
          <pc:sldMk cId="671950243" sldId="2134805444"/>
        </pc:sldMkLst>
        <pc:spChg chg="add mod">
          <ac:chgData name="Gupta, Pallab (Nokia - IN/Bangalore)" userId="2373e1e1-8f73-46a5-bf2c-89beccfccabe" providerId="ADAL" clId="{25B7770E-6188-4D17-92B2-23D65685F18F}" dt="2021-04-21T06:05:54.223" v="25" actId="14100"/>
          <ac:spMkLst>
            <pc:docMk/>
            <pc:sldMk cId="671950243" sldId="2134805444"/>
            <ac:spMk id="6" creationId="{4BDBCB00-8E9D-4034-8B38-0809E05D1F8B}"/>
          </ac:spMkLst>
        </pc:spChg>
        <pc:spChg chg="del">
          <ac:chgData name="Gupta, Pallab (Nokia - IN/Bangalore)" userId="2373e1e1-8f73-46a5-bf2c-89beccfccabe" providerId="ADAL" clId="{25B7770E-6188-4D17-92B2-23D65685F18F}" dt="2021-04-21T06:05:02.675" v="17" actId="478"/>
          <ac:spMkLst>
            <pc:docMk/>
            <pc:sldMk cId="671950243" sldId="2134805444"/>
            <ac:spMk id="8" creationId="{A6FE9473-D619-44D5-90D9-CA33713ECD23}"/>
          </ac:spMkLst>
        </pc:spChg>
        <pc:spChg chg="add mod">
          <ac:chgData name="Gupta, Pallab (Nokia - IN/Bangalore)" userId="2373e1e1-8f73-46a5-bf2c-89beccfccabe" providerId="ADAL" clId="{25B7770E-6188-4D17-92B2-23D65685F18F}" dt="2021-04-21T06:16:56.523" v="229" actId="14100"/>
          <ac:spMkLst>
            <pc:docMk/>
            <pc:sldMk cId="671950243" sldId="2134805444"/>
            <ac:spMk id="9" creationId="{5FEF3239-6AFF-4427-9F2B-4D3BC18A1F97}"/>
          </ac:spMkLst>
        </pc:spChg>
        <pc:spChg chg="add del mod">
          <ac:chgData name="Gupta, Pallab (Nokia - IN/Bangalore)" userId="2373e1e1-8f73-46a5-bf2c-89beccfccabe" providerId="ADAL" clId="{25B7770E-6188-4D17-92B2-23D65685F18F}" dt="2021-04-21T06:16:10.354" v="191" actId="478"/>
          <ac:spMkLst>
            <pc:docMk/>
            <pc:sldMk cId="671950243" sldId="2134805444"/>
            <ac:spMk id="10" creationId="{356AA7B9-81CC-4781-9482-08155A29D135}"/>
          </ac:spMkLst>
        </pc:spChg>
        <pc:spChg chg="add del mod">
          <ac:chgData name="Gupta, Pallab (Nokia - IN/Bangalore)" userId="2373e1e1-8f73-46a5-bf2c-89beccfccabe" providerId="ADAL" clId="{25B7770E-6188-4D17-92B2-23D65685F18F}" dt="2021-04-21T06:16:39.747" v="218" actId="478"/>
          <ac:spMkLst>
            <pc:docMk/>
            <pc:sldMk cId="671950243" sldId="2134805444"/>
            <ac:spMk id="11" creationId="{67F3B525-2456-477F-825B-0C56E6917C00}"/>
          </ac:spMkLst>
        </pc:spChg>
        <pc:spChg chg="add mod">
          <ac:chgData name="Gupta, Pallab (Nokia - IN/Bangalore)" userId="2373e1e1-8f73-46a5-bf2c-89beccfccabe" providerId="ADAL" clId="{25B7770E-6188-4D17-92B2-23D65685F18F}" dt="2021-04-21T06:18:57.650" v="274" actId="1036"/>
          <ac:spMkLst>
            <pc:docMk/>
            <pc:sldMk cId="671950243" sldId="2134805444"/>
            <ac:spMk id="13" creationId="{5E9AE11F-345F-4821-90A5-2F313CE69350}"/>
          </ac:spMkLst>
        </pc:spChg>
        <pc:spChg chg="add mod">
          <ac:chgData name="Gupta, Pallab (Nokia - IN/Bangalore)" userId="2373e1e1-8f73-46a5-bf2c-89beccfccabe" providerId="ADAL" clId="{25B7770E-6188-4D17-92B2-23D65685F18F}" dt="2021-04-21T06:18:49.782" v="272" actId="20577"/>
          <ac:spMkLst>
            <pc:docMk/>
            <pc:sldMk cId="671950243" sldId="2134805444"/>
            <ac:spMk id="14" creationId="{204C5820-E5BC-41F4-BD21-1EB8E78920A8}"/>
          </ac:spMkLst>
        </pc:spChg>
        <pc:graphicFrameChg chg="add mod">
          <ac:chgData name="Gupta, Pallab (Nokia - IN/Bangalore)" userId="2373e1e1-8f73-46a5-bf2c-89beccfccabe" providerId="ADAL" clId="{25B7770E-6188-4D17-92B2-23D65685F18F}" dt="2021-04-21T06:19:01.666" v="275" actId="1076"/>
          <ac:graphicFrameMkLst>
            <pc:docMk/>
            <pc:sldMk cId="671950243" sldId="2134805444"/>
            <ac:graphicFrameMk id="12" creationId="{01D0080D-58BA-42DC-96FE-B24C5F409E72}"/>
          </ac:graphicFrameMkLst>
        </pc:graphicFrameChg>
      </pc:sldChg>
      <pc:sldChg chg="addSp delSp modSp add mod">
        <pc:chgData name="Gupta, Pallab (Nokia - IN/Bangalore)" userId="2373e1e1-8f73-46a5-bf2c-89beccfccabe" providerId="ADAL" clId="{25B7770E-6188-4D17-92B2-23D65685F18F}" dt="2021-04-21T06:07:14.570" v="35" actId="6549"/>
        <pc:sldMkLst>
          <pc:docMk/>
          <pc:sldMk cId="1489817618" sldId="2134805445"/>
        </pc:sldMkLst>
        <pc:spChg chg="add mod">
          <ac:chgData name="Gupta, Pallab (Nokia - IN/Bangalore)" userId="2373e1e1-8f73-46a5-bf2c-89beccfccabe" providerId="ADAL" clId="{25B7770E-6188-4D17-92B2-23D65685F18F}" dt="2021-04-21T06:07:14.570" v="35" actId="6549"/>
          <ac:spMkLst>
            <pc:docMk/>
            <pc:sldMk cId="1489817618" sldId="2134805445"/>
            <ac:spMk id="6" creationId="{A14A2257-192F-47AA-93A6-8DC63835CF29}"/>
          </ac:spMkLst>
        </pc:spChg>
        <pc:spChg chg="del">
          <ac:chgData name="Gupta, Pallab (Nokia - IN/Bangalore)" userId="2373e1e1-8f73-46a5-bf2c-89beccfccabe" providerId="ADAL" clId="{25B7770E-6188-4D17-92B2-23D65685F18F}" dt="2021-04-21T06:05:05.626" v="18" actId="478"/>
          <ac:spMkLst>
            <pc:docMk/>
            <pc:sldMk cId="1489817618" sldId="2134805445"/>
            <ac:spMk id="8" creationId="{A6FE9473-D619-44D5-90D9-CA33713ECD23}"/>
          </ac:spMkLst>
        </pc:spChg>
        <pc:spChg chg="add mod">
          <ac:chgData name="Gupta, Pallab (Nokia - IN/Bangalore)" userId="2373e1e1-8f73-46a5-bf2c-89beccfccabe" providerId="ADAL" clId="{25B7770E-6188-4D17-92B2-23D65685F18F}" dt="2021-04-21T06:06:23.469" v="26"/>
          <ac:spMkLst>
            <pc:docMk/>
            <pc:sldMk cId="1489817618" sldId="2134805445"/>
            <ac:spMk id="11" creationId="{D4DB44FD-6FAF-4BCD-99D8-C5CFBA96DE79}"/>
          </ac:spMkLst>
        </pc:spChg>
        <pc:graphicFrameChg chg="add mod">
          <ac:chgData name="Gupta, Pallab (Nokia - IN/Bangalore)" userId="2373e1e1-8f73-46a5-bf2c-89beccfccabe" providerId="ADAL" clId="{25B7770E-6188-4D17-92B2-23D65685F18F}" dt="2021-04-21T06:06:23.469" v="26"/>
          <ac:graphicFrameMkLst>
            <pc:docMk/>
            <pc:sldMk cId="1489817618" sldId="2134805445"/>
            <ac:graphicFrameMk id="9" creationId="{7633F2EB-E9E7-4DD8-908A-74BC6E0474F8}"/>
          </ac:graphicFrameMkLst>
        </pc:graphicFrameChg>
        <pc:graphicFrameChg chg="add mod">
          <ac:chgData name="Gupta, Pallab (Nokia - IN/Bangalore)" userId="2373e1e1-8f73-46a5-bf2c-89beccfccabe" providerId="ADAL" clId="{25B7770E-6188-4D17-92B2-23D65685F18F}" dt="2021-04-21T06:06:23.469" v="26"/>
          <ac:graphicFrameMkLst>
            <pc:docMk/>
            <pc:sldMk cId="1489817618" sldId="2134805445"/>
            <ac:graphicFrameMk id="10" creationId="{BADB4E16-2AB8-4D52-8158-3BFA92A0902A}"/>
          </ac:graphicFrameMkLst>
        </pc:graphicFrameChg>
      </pc:sldChg>
      <pc:sldChg chg="addSp delSp modSp add mod">
        <pc:chgData name="Gupta, Pallab (Nokia - IN/Bangalore)" userId="2373e1e1-8f73-46a5-bf2c-89beccfccabe" providerId="ADAL" clId="{25B7770E-6188-4D17-92B2-23D65685F18F}" dt="2021-04-21T06:06:53.624" v="27"/>
        <pc:sldMkLst>
          <pc:docMk/>
          <pc:sldMk cId="775315050" sldId="2134805446"/>
        </pc:sldMkLst>
        <pc:spChg chg="del">
          <ac:chgData name="Gupta, Pallab (Nokia - IN/Bangalore)" userId="2373e1e1-8f73-46a5-bf2c-89beccfccabe" providerId="ADAL" clId="{25B7770E-6188-4D17-92B2-23D65685F18F}" dt="2021-04-21T06:05:08.308" v="19" actId="478"/>
          <ac:spMkLst>
            <pc:docMk/>
            <pc:sldMk cId="775315050" sldId="2134805446"/>
            <ac:spMk id="8" creationId="{A6FE9473-D619-44D5-90D9-CA33713ECD23}"/>
          </ac:spMkLst>
        </pc:spChg>
        <pc:spChg chg="add mod">
          <ac:chgData name="Gupta, Pallab (Nokia - IN/Bangalore)" userId="2373e1e1-8f73-46a5-bf2c-89beccfccabe" providerId="ADAL" clId="{25B7770E-6188-4D17-92B2-23D65685F18F}" dt="2021-04-21T06:06:53.624" v="27"/>
          <ac:spMkLst>
            <pc:docMk/>
            <pc:sldMk cId="775315050" sldId="2134805446"/>
            <ac:spMk id="9" creationId="{979CC1D9-0F9C-47F1-8C69-C5072CA9AF75}"/>
          </ac:spMkLst>
        </pc:spChg>
        <pc:spChg chg="add mod">
          <ac:chgData name="Gupta, Pallab (Nokia - IN/Bangalore)" userId="2373e1e1-8f73-46a5-bf2c-89beccfccabe" providerId="ADAL" clId="{25B7770E-6188-4D17-92B2-23D65685F18F}" dt="2021-04-21T06:06:53.624" v="27"/>
          <ac:spMkLst>
            <pc:docMk/>
            <pc:sldMk cId="775315050" sldId="2134805446"/>
            <ac:spMk id="10" creationId="{FE7A5D33-F98E-4FE1-9C64-8954ED86498B}"/>
          </ac:spMkLst>
        </pc:spChg>
        <pc:graphicFrameChg chg="add mod">
          <ac:chgData name="Gupta, Pallab (Nokia - IN/Bangalore)" userId="2373e1e1-8f73-46a5-bf2c-89beccfccabe" providerId="ADAL" clId="{25B7770E-6188-4D17-92B2-23D65685F18F}" dt="2021-04-21T06:06:53.624" v="27"/>
          <ac:graphicFrameMkLst>
            <pc:docMk/>
            <pc:sldMk cId="775315050" sldId="2134805446"/>
            <ac:graphicFrameMk id="6" creationId="{C303E114-86A1-4F4C-945F-1F0C8F96D2E4}"/>
          </ac:graphicFrameMkLst>
        </pc:graphicFrameChg>
        <pc:graphicFrameChg chg="add mod">
          <ac:chgData name="Gupta, Pallab (Nokia - IN/Bangalore)" userId="2373e1e1-8f73-46a5-bf2c-89beccfccabe" providerId="ADAL" clId="{25B7770E-6188-4D17-92B2-23D65685F18F}" dt="2021-04-21T06:06:53.624" v="27"/>
          <ac:graphicFrameMkLst>
            <pc:docMk/>
            <pc:sldMk cId="775315050" sldId="2134805446"/>
            <ac:graphicFrameMk id="11" creationId="{D40BB38E-4564-4906-A004-69285581D9AB}"/>
          </ac:graphicFrameMkLst>
        </pc:graphicFrameChg>
      </pc:sldChg>
      <pc:sldChg chg="addSp delSp modSp add mod">
        <pc:chgData name="Gupta, Pallab (Nokia - IN/Bangalore)" userId="2373e1e1-8f73-46a5-bf2c-89beccfccabe" providerId="ADAL" clId="{25B7770E-6188-4D17-92B2-23D65685F18F}" dt="2021-04-21T06:09:06.554" v="95" actId="1076"/>
        <pc:sldMkLst>
          <pc:docMk/>
          <pc:sldMk cId="3564588776" sldId="2134805447"/>
        </pc:sldMkLst>
        <pc:spChg chg="add mod">
          <ac:chgData name="Gupta, Pallab (Nokia - IN/Bangalore)" userId="2373e1e1-8f73-46a5-bf2c-89beccfccabe" providerId="ADAL" clId="{25B7770E-6188-4D17-92B2-23D65685F18F}" dt="2021-04-21T06:09:06.554" v="95" actId="1076"/>
          <ac:spMkLst>
            <pc:docMk/>
            <pc:sldMk cId="3564588776" sldId="2134805447"/>
            <ac:spMk id="6" creationId="{270D1638-F8C3-466D-820B-9829F2CBBB81}"/>
          </ac:spMkLst>
        </pc:spChg>
        <pc:spChg chg="del">
          <ac:chgData name="Gupta, Pallab (Nokia - IN/Bangalore)" userId="2373e1e1-8f73-46a5-bf2c-89beccfccabe" providerId="ADAL" clId="{25B7770E-6188-4D17-92B2-23D65685F18F}" dt="2021-04-21T06:05:10.915" v="20" actId="478"/>
          <ac:spMkLst>
            <pc:docMk/>
            <pc:sldMk cId="3564588776" sldId="2134805447"/>
            <ac:spMk id="8" creationId="{A6FE9473-D619-44D5-90D9-CA33713ECD23}"/>
          </ac:spMkLst>
        </pc:spChg>
        <pc:spChg chg="add mod">
          <ac:chgData name="Gupta, Pallab (Nokia - IN/Bangalore)" userId="2373e1e1-8f73-46a5-bf2c-89beccfccabe" providerId="ADAL" clId="{25B7770E-6188-4D17-92B2-23D65685F18F}" dt="2021-04-21T06:07:46.354" v="36"/>
          <ac:spMkLst>
            <pc:docMk/>
            <pc:sldMk cId="3564588776" sldId="2134805447"/>
            <ac:spMk id="9" creationId="{9123F010-79C5-4589-9F43-883A8AD49B20}"/>
          </ac:spMkLst>
        </pc:spChg>
        <pc:spChg chg="add mod">
          <ac:chgData name="Gupta, Pallab (Nokia - IN/Bangalore)" userId="2373e1e1-8f73-46a5-bf2c-89beccfccabe" providerId="ADAL" clId="{25B7770E-6188-4D17-92B2-23D65685F18F}" dt="2021-04-21T06:07:46.354" v="36"/>
          <ac:spMkLst>
            <pc:docMk/>
            <pc:sldMk cId="3564588776" sldId="2134805447"/>
            <ac:spMk id="12" creationId="{EFC78231-4EFA-4214-B2BD-C4E255EB054C}"/>
          </ac:spMkLst>
        </pc:spChg>
        <pc:spChg chg="add mod">
          <ac:chgData name="Gupta, Pallab (Nokia - IN/Bangalore)" userId="2373e1e1-8f73-46a5-bf2c-89beccfccabe" providerId="ADAL" clId="{25B7770E-6188-4D17-92B2-23D65685F18F}" dt="2021-04-21T06:08:18.761" v="89" actId="1076"/>
          <ac:spMkLst>
            <pc:docMk/>
            <pc:sldMk cId="3564588776" sldId="2134805447"/>
            <ac:spMk id="13" creationId="{0CD2DB43-6B14-413B-8376-8E4D091602F3}"/>
          </ac:spMkLst>
        </pc:spChg>
        <pc:graphicFrameChg chg="add mod">
          <ac:chgData name="Gupta, Pallab (Nokia - IN/Bangalore)" userId="2373e1e1-8f73-46a5-bf2c-89beccfccabe" providerId="ADAL" clId="{25B7770E-6188-4D17-92B2-23D65685F18F}" dt="2021-04-21T06:08:24.490" v="92" actId="1035"/>
          <ac:graphicFrameMkLst>
            <pc:docMk/>
            <pc:sldMk cId="3564588776" sldId="2134805447"/>
            <ac:graphicFrameMk id="10" creationId="{A57B0AD3-0FDB-423D-8023-80A14FAB8D8D}"/>
          </ac:graphicFrameMkLst>
        </pc:graphicFrameChg>
        <pc:graphicFrameChg chg="add mod">
          <ac:chgData name="Gupta, Pallab (Nokia - IN/Bangalore)" userId="2373e1e1-8f73-46a5-bf2c-89beccfccabe" providerId="ADAL" clId="{25B7770E-6188-4D17-92B2-23D65685F18F}" dt="2021-04-21T06:07:46.354" v="36"/>
          <ac:graphicFrameMkLst>
            <pc:docMk/>
            <pc:sldMk cId="3564588776" sldId="2134805447"/>
            <ac:graphicFrameMk id="11" creationId="{30BCB519-0855-4BC3-8881-FD70688029F1}"/>
          </ac:graphicFrameMkLst>
        </pc:graphicFrameChg>
      </pc:sldChg>
      <pc:sldChg chg="addSp delSp modSp add mod">
        <pc:chgData name="Gupta, Pallab (Nokia - IN/Bangalore)" userId="2373e1e1-8f73-46a5-bf2c-89beccfccabe" providerId="ADAL" clId="{25B7770E-6188-4D17-92B2-23D65685F18F}" dt="2021-04-21T06:10:23.150" v="115" actId="14100"/>
        <pc:sldMkLst>
          <pc:docMk/>
          <pc:sldMk cId="2341466048" sldId="2134805448"/>
        </pc:sldMkLst>
        <pc:spChg chg="add mod">
          <ac:chgData name="Gupta, Pallab (Nokia - IN/Bangalore)" userId="2373e1e1-8f73-46a5-bf2c-89beccfccabe" providerId="ADAL" clId="{25B7770E-6188-4D17-92B2-23D65685F18F}" dt="2021-04-21T06:10:15.313" v="114" actId="1076"/>
          <ac:spMkLst>
            <pc:docMk/>
            <pc:sldMk cId="2341466048" sldId="2134805448"/>
            <ac:spMk id="6" creationId="{F6BA8688-6ADB-4647-A48D-5D424A8A1B6C}"/>
          </ac:spMkLst>
        </pc:spChg>
        <pc:spChg chg="del mod">
          <ac:chgData name="Gupta, Pallab (Nokia - IN/Bangalore)" userId="2373e1e1-8f73-46a5-bf2c-89beccfccabe" providerId="ADAL" clId="{25B7770E-6188-4D17-92B2-23D65685F18F}" dt="2021-04-21T06:05:16.935" v="22" actId="478"/>
          <ac:spMkLst>
            <pc:docMk/>
            <pc:sldMk cId="2341466048" sldId="2134805448"/>
            <ac:spMk id="8" creationId="{A6FE9473-D619-44D5-90D9-CA33713ECD23}"/>
          </ac:spMkLst>
        </pc:spChg>
        <pc:spChg chg="add mod">
          <ac:chgData name="Gupta, Pallab (Nokia - IN/Bangalore)" userId="2373e1e1-8f73-46a5-bf2c-89beccfccabe" providerId="ADAL" clId="{25B7770E-6188-4D17-92B2-23D65685F18F}" dt="2021-04-21T06:09:30.868" v="96"/>
          <ac:spMkLst>
            <pc:docMk/>
            <pc:sldMk cId="2341466048" sldId="2134805448"/>
            <ac:spMk id="9" creationId="{42B0BCB7-20D9-4449-969E-AEBF5263D131}"/>
          </ac:spMkLst>
        </pc:spChg>
        <pc:spChg chg="add mod">
          <ac:chgData name="Gupta, Pallab (Nokia - IN/Bangalore)" userId="2373e1e1-8f73-46a5-bf2c-89beccfccabe" providerId="ADAL" clId="{25B7770E-6188-4D17-92B2-23D65685F18F}" dt="2021-04-21T06:09:30.868" v="96"/>
          <ac:spMkLst>
            <pc:docMk/>
            <pc:sldMk cId="2341466048" sldId="2134805448"/>
            <ac:spMk id="10" creationId="{601381FD-B7EB-4EB2-90CD-B7ADD0EE0709}"/>
          </ac:spMkLst>
        </pc:spChg>
        <pc:spChg chg="add mod">
          <ac:chgData name="Gupta, Pallab (Nokia - IN/Bangalore)" userId="2373e1e1-8f73-46a5-bf2c-89beccfccabe" providerId="ADAL" clId="{25B7770E-6188-4D17-92B2-23D65685F18F}" dt="2021-04-21T06:10:04.530" v="110" actId="1076"/>
          <ac:spMkLst>
            <pc:docMk/>
            <pc:sldMk cId="2341466048" sldId="2134805448"/>
            <ac:spMk id="12" creationId="{FBE75B4E-C6EC-4A91-85DF-6A62F3CABC2B}"/>
          </ac:spMkLst>
        </pc:spChg>
        <pc:graphicFrameChg chg="add mod">
          <ac:chgData name="Gupta, Pallab (Nokia - IN/Bangalore)" userId="2373e1e1-8f73-46a5-bf2c-89beccfccabe" providerId="ADAL" clId="{25B7770E-6188-4D17-92B2-23D65685F18F}" dt="2021-04-21T06:10:23.150" v="115" actId="14100"/>
          <ac:graphicFrameMkLst>
            <pc:docMk/>
            <pc:sldMk cId="2341466048" sldId="2134805448"/>
            <ac:graphicFrameMk id="11" creationId="{EBBA78E7-7BC5-4FD2-B3E3-3C7576045E46}"/>
          </ac:graphicFrameMkLst>
        </pc:graphicFrameChg>
      </pc:sldChg>
      <pc:sldChg chg="addSp delSp modSp add mod">
        <pc:chgData name="Gupta, Pallab (Nokia - IN/Bangalore)" userId="2373e1e1-8f73-46a5-bf2c-89beccfccabe" providerId="ADAL" clId="{25B7770E-6188-4D17-92B2-23D65685F18F}" dt="2021-04-21T06:11:35.258" v="142" actId="1076"/>
        <pc:sldMkLst>
          <pc:docMk/>
          <pc:sldMk cId="890999803" sldId="2134805449"/>
        </pc:sldMkLst>
        <pc:spChg chg="del">
          <ac:chgData name="Gupta, Pallab (Nokia - IN/Bangalore)" userId="2373e1e1-8f73-46a5-bf2c-89beccfccabe" providerId="ADAL" clId="{25B7770E-6188-4D17-92B2-23D65685F18F}" dt="2021-04-21T06:05:21.850" v="23" actId="478"/>
          <ac:spMkLst>
            <pc:docMk/>
            <pc:sldMk cId="890999803" sldId="2134805449"/>
            <ac:spMk id="8" creationId="{A6FE9473-D619-44D5-90D9-CA33713ECD23}"/>
          </ac:spMkLst>
        </pc:spChg>
        <pc:spChg chg="add mod">
          <ac:chgData name="Gupta, Pallab (Nokia - IN/Bangalore)" userId="2373e1e1-8f73-46a5-bf2c-89beccfccabe" providerId="ADAL" clId="{25B7770E-6188-4D17-92B2-23D65685F18F}" dt="2021-04-21T06:11:22.274" v="138" actId="1076"/>
          <ac:spMkLst>
            <pc:docMk/>
            <pc:sldMk cId="890999803" sldId="2134805449"/>
            <ac:spMk id="9" creationId="{B22D4469-9064-46E0-AF2E-3CF6459C9987}"/>
          </ac:spMkLst>
        </pc:spChg>
        <pc:spChg chg="add mod">
          <ac:chgData name="Gupta, Pallab (Nokia - IN/Bangalore)" userId="2373e1e1-8f73-46a5-bf2c-89beccfccabe" providerId="ADAL" clId="{25B7770E-6188-4D17-92B2-23D65685F18F}" dt="2021-04-21T06:11:35.258" v="142" actId="1076"/>
          <ac:spMkLst>
            <pc:docMk/>
            <pc:sldMk cId="890999803" sldId="2134805449"/>
            <ac:spMk id="10" creationId="{546C6D16-C1AA-4116-AC33-8AD811D73D70}"/>
          </ac:spMkLst>
        </pc:spChg>
        <pc:graphicFrameChg chg="add mod">
          <ac:chgData name="Gupta, Pallab (Nokia - IN/Bangalore)" userId="2373e1e1-8f73-46a5-bf2c-89beccfccabe" providerId="ADAL" clId="{25B7770E-6188-4D17-92B2-23D65685F18F}" dt="2021-04-21T06:11:11.809" v="137" actId="1076"/>
          <ac:graphicFrameMkLst>
            <pc:docMk/>
            <pc:sldMk cId="890999803" sldId="2134805449"/>
            <ac:graphicFrameMk id="6" creationId="{934189D1-EFE5-4241-8418-B6B266316722}"/>
          </ac:graphicFrameMkLst>
        </pc:graphicFrameChg>
      </pc:sldChg>
      <pc:sldChg chg="addSp modSp add mod">
        <pc:chgData name="Gupta, Pallab (Nokia - IN/Bangalore)" userId="2373e1e1-8f73-46a5-bf2c-89beccfccabe" providerId="ADAL" clId="{25B7770E-6188-4D17-92B2-23D65685F18F}" dt="2021-04-21T06:12:42.709" v="157" actId="14100"/>
        <pc:sldMkLst>
          <pc:docMk/>
          <pc:sldMk cId="2932300714" sldId="2134805450"/>
        </pc:sldMkLst>
        <pc:spChg chg="add mod">
          <ac:chgData name="Gupta, Pallab (Nokia - IN/Bangalore)" userId="2373e1e1-8f73-46a5-bf2c-89beccfccabe" providerId="ADAL" clId="{25B7770E-6188-4D17-92B2-23D65685F18F}" dt="2021-04-21T06:12:42.709" v="157" actId="14100"/>
          <ac:spMkLst>
            <pc:docMk/>
            <pc:sldMk cId="2932300714" sldId="2134805450"/>
            <ac:spMk id="6" creationId="{6F49322A-FCD3-4F5B-BD2D-5E955C202519}"/>
          </ac:spMkLst>
        </pc:spChg>
        <pc:spChg chg="add mod">
          <ac:chgData name="Gupta, Pallab (Nokia - IN/Bangalore)" userId="2373e1e1-8f73-46a5-bf2c-89beccfccabe" providerId="ADAL" clId="{25B7770E-6188-4D17-92B2-23D65685F18F}" dt="2021-04-21T06:12:39.026" v="156" actId="1076"/>
          <ac:spMkLst>
            <pc:docMk/>
            <pc:sldMk cId="2932300714" sldId="2134805450"/>
            <ac:spMk id="8" creationId="{4461F512-396A-4897-86EE-23FD148A1003}"/>
          </ac:spMkLst>
        </pc:spChg>
        <pc:graphicFrameChg chg="add mod">
          <ac:chgData name="Gupta, Pallab (Nokia - IN/Bangalore)" userId="2373e1e1-8f73-46a5-bf2c-89beccfccabe" providerId="ADAL" clId="{25B7770E-6188-4D17-92B2-23D65685F18F}" dt="2021-04-21T06:12:08.809" v="148" actId="1076"/>
          <ac:graphicFrameMkLst>
            <pc:docMk/>
            <pc:sldMk cId="2932300714" sldId="2134805450"/>
            <ac:graphicFrameMk id="5" creationId="{0CCE9E52-10AB-4D27-A036-37F5C3B2BE51}"/>
          </ac:graphicFrameMkLst>
        </pc:graphicFrameChg>
      </pc:sldChg>
      <pc:sldChg chg="addSp modSp add mod">
        <pc:chgData name="Gupta, Pallab (Nokia - IN/Bangalore)" userId="2373e1e1-8f73-46a5-bf2c-89beccfccabe" providerId="ADAL" clId="{25B7770E-6188-4D17-92B2-23D65685F18F}" dt="2021-04-21T06:14:03.145" v="173" actId="1076"/>
        <pc:sldMkLst>
          <pc:docMk/>
          <pc:sldMk cId="1701334426" sldId="2134805451"/>
        </pc:sldMkLst>
        <pc:spChg chg="add mod">
          <ac:chgData name="Gupta, Pallab (Nokia - IN/Bangalore)" userId="2373e1e1-8f73-46a5-bf2c-89beccfccabe" providerId="ADAL" clId="{25B7770E-6188-4D17-92B2-23D65685F18F}" dt="2021-04-21T06:13:47.090" v="169" actId="1076"/>
          <ac:spMkLst>
            <pc:docMk/>
            <pc:sldMk cId="1701334426" sldId="2134805451"/>
            <ac:spMk id="6" creationId="{32AB7B6E-D928-430E-B9BA-C7A9387F4931}"/>
          </ac:spMkLst>
        </pc:spChg>
        <pc:spChg chg="add mod">
          <ac:chgData name="Gupta, Pallab (Nokia - IN/Bangalore)" userId="2373e1e1-8f73-46a5-bf2c-89beccfccabe" providerId="ADAL" clId="{25B7770E-6188-4D17-92B2-23D65685F18F}" dt="2021-04-21T06:14:03.145" v="173" actId="1076"/>
          <ac:spMkLst>
            <pc:docMk/>
            <pc:sldMk cId="1701334426" sldId="2134805451"/>
            <ac:spMk id="8" creationId="{14ED43EC-95D1-474A-BE9A-2EE31C0C6BA8}"/>
          </ac:spMkLst>
        </pc:spChg>
        <pc:graphicFrameChg chg="add mod">
          <ac:chgData name="Gupta, Pallab (Nokia - IN/Bangalore)" userId="2373e1e1-8f73-46a5-bf2c-89beccfccabe" providerId="ADAL" clId="{25B7770E-6188-4D17-92B2-23D65685F18F}" dt="2021-04-21T06:13:41.105" v="168" actId="1076"/>
          <ac:graphicFrameMkLst>
            <pc:docMk/>
            <pc:sldMk cId="1701334426" sldId="2134805451"/>
            <ac:graphicFrameMk id="5" creationId="{6D653653-56E4-4ACC-A963-8A46A4225F3E}"/>
          </ac:graphicFrameMkLst>
        </pc:graphicFrameChg>
      </pc:sldChg>
      <pc:sldChg chg="addSp modSp add mod">
        <pc:chgData name="Gupta, Pallab (Nokia - IN/Bangalore)" userId="2373e1e1-8f73-46a5-bf2c-89beccfccabe" providerId="ADAL" clId="{25B7770E-6188-4D17-92B2-23D65685F18F}" dt="2021-04-21T06:15:04.241" v="189" actId="1076"/>
        <pc:sldMkLst>
          <pc:docMk/>
          <pc:sldMk cId="3700908891" sldId="2134805452"/>
        </pc:sldMkLst>
        <pc:spChg chg="add mod">
          <ac:chgData name="Gupta, Pallab (Nokia - IN/Bangalore)" userId="2373e1e1-8f73-46a5-bf2c-89beccfccabe" providerId="ADAL" clId="{25B7770E-6188-4D17-92B2-23D65685F18F}" dt="2021-04-21T06:14:48.089" v="185" actId="1076"/>
          <ac:spMkLst>
            <pc:docMk/>
            <pc:sldMk cId="3700908891" sldId="2134805452"/>
            <ac:spMk id="6" creationId="{4B3B6D0C-0637-473F-AB46-4C1B81B2C6BB}"/>
          </ac:spMkLst>
        </pc:spChg>
        <pc:spChg chg="add mod">
          <ac:chgData name="Gupta, Pallab (Nokia - IN/Bangalore)" userId="2373e1e1-8f73-46a5-bf2c-89beccfccabe" providerId="ADAL" clId="{25B7770E-6188-4D17-92B2-23D65685F18F}" dt="2021-04-21T06:15:04.241" v="189" actId="1076"/>
          <ac:spMkLst>
            <pc:docMk/>
            <pc:sldMk cId="3700908891" sldId="2134805452"/>
            <ac:spMk id="8" creationId="{2FEF54A3-D4A9-4DFD-BA83-403154602C78}"/>
          </ac:spMkLst>
        </pc:spChg>
        <pc:graphicFrameChg chg="add mod">
          <ac:chgData name="Gupta, Pallab (Nokia - IN/Bangalore)" userId="2373e1e1-8f73-46a5-bf2c-89beccfccabe" providerId="ADAL" clId="{25B7770E-6188-4D17-92B2-23D65685F18F}" dt="2021-04-21T06:14:35.185" v="181" actId="1076"/>
          <ac:graphicFrameMkLst>
            <pc:docMk/>
            <pc:sldMk cId="3700908891" sldId="2134805452"/>
            <ac:graphicFrameMk id="5" creationId="{17CCBD6A-CC8C-4ABD-A8E3-57F63FAEBF66}"/>
          </ac:graphicFrameMkLst>
        </pc:graphicFrameChg>
      </pc:sldChg>
      <pc:sldChg chg="modSp add mod">
        <pc:chgData name="Gupta, Pallab (Nokia - IN/Bangalore)" userId="2373e1e1-8f73-46a5-bf2c-89beccfccabe" providerId="ADAL" clId="{25B7770E-6188-4D17-92B2-23D65685F18F}" dt="2021-04-21T06:31:35.777" v="1082" actId="1076"/>
        <pc:sldMkLst>
          <pc:docMk/>
          <pc:sldMk cId="1706274098" sldId="2134805453"/>
        </pc:sldMkLst>
        <pc:spChg chg="mod">
          <ac:chgData name="Gupta, Pallab (Nokia - IN/Bangalore)" userId="2373e1e1-8f73-46a5-bf2c-89beccfccabe" providerId="ADAL" clId="{25B7770E-6188-4D17-92B2-23D65685F18F}" dt="2021-04-21T06:31:35.777" v="1082" actId="1076"/>
          <ac:spMkLst>
            <pc:docMk/>
            <pc:sldMk cId="1706274098" sldId="2134805453"/>
            <ac:spMk id="8" creationId="{A6FE9473-D619-44D5-90D9-CA33713ECD23}"/>
          </ac:spMkLst>
        </pc:spChg>
      </pc:sldChg>
    </pc:docChg>
  </pc:docChgLst>
  <pc:docChgLst>
    <pc:chgData name="Thiebaut, Laurent (Nokia - FR/Paris-Saclay)" userId="5a0f83ef-4330-4e17-8828-eca8fc03b257" providerId="ADAL" clId="{6F45BFCD-C775-4930-8BCC-00BAC5C0D4CC}"/>
    <pc:docChg chg="modSld">
      <pc:chgData name="Thiebaut, Laurent (Nokia - FR/Paris-Saclay)" userId="5a0f83ef-4330-4e17-8828-eca8fc03b257" providerId="ADAL" clId="{6F45BFCD-C775-4930-8BCC-00BAC5C0D4CC}" dt="2022-03-07T12:27:37.356" v="6" actId="20577"/>
      <pc:docMkLst>
        <pc:docMk/>
      </pc:docMkLst>
      <pc:sldChg chg="modSp mod">
        <pc:chgData name="Thiebaut, Laurent (Nokia - FR/Paris-Saclay)" userId="5a0f83ef-4330-4e17-8828-eca8fc03b257" providerId="ADAL" clId="{6F45BFCD-C775-4930-8BCC-00BAC5C0D4CC}" dt="2022-03-07T12:27:37.356" v="6" actId="20577"/>
        <pc:sldMkLst>
          <pc:docMk/>
          <pc:sldMk cId="2416036818" sldId="338"/>
        </pc:sldMkLst>
        <pc:spChg chg="mod">
          <ac:chgData name="Thiebaut, Laurent (Nokia - FR/Paris-Saclay)" userId="5a0f83ef-4330-4e17-8828-eca8fc03b257" providerId="ADAL" clId="{6F45BFCD-C775-4930-8BCC-00BAC5C0D4CC}" dt="2022-03-07T12:27:37.356" v="6" actId="20577"/>
          <ac:spMkLst>
            <pc:docMk/>
            <pc:sldMk cId="2416036818" sldId="338"/>
            <ac:spMk id="5" creationId="{0A813F0E-7224-42E6-A359-B5A9B05FEE7A}"/>
          </ac:spMkLst>
        </pc:spChg>
      </pc:sldChg>
    </pc:docChg>
  </pc:docChgLst>
  <pc:docChgLst>
    <pc:chgData name="Casati, Alessio (Nokia - GB)" userId="S::alessio.casati@nokia.com::6f050b0a-bf61-49f1-93be-076af52cf2e7" providerId="AD" clId="Web-{D15FA13C-7CD7-56DF-A764-F488BA05A0D1}"/>
    <pc:docChg chg="modSld">
      <pc:chgData name="Casati, Alessio (Nokia - GB)" userId="S::alessio.casati@nokia.com::6f050b0a-bf61-49f1-93be-076af52cf2e7" providerId="AD" clId="Web-{D15FA13C-7CD7-56DF-A764-F488BA05A0D1}" dt="2021-11-02T15:19:48.538" v="2" actId="20577"/>
      <pc:docMkLst>
        <pc:docMk/>
      </pc:docMkLst>
      <pc:sldChg chg="modSp">
        <pc:chgData name="Casati, Alessio (Nokia - GB)" userId="S::alessio.casati@nokia.com::6f050b0a-bf61-49f1-93be-076af52cf2e7" providerId="AD" clId="Web-{D15FA13C-7CD7-56DF-A764-F488BA05A0D1}" dt="2021-11-02T15:19:48.538" v="2" actId="20577"/>
        <pc:sldMkLst>
          <pc:docMk/>
          <pc:sldMk cId="1528937751" sldId="2134805528"/>
        </pc:sldMkLst>
        <pc:spChg chg="mod">
          <ac:chgData name="Casati, Alessio (Nokia - GB)" userId="S::alessio.casati@nokia.com::6f050b0a-bf61-49f1-93be-076af52cf2e7" providerId="AD" clId="Web-{D15FA13C-7CD7-56DF-A764-F488BA05A0D1}" dt="2021-11-02T15:19:48.538" v="2" actId="20577"/>
          <ac:spMkLst>
            <pc:docMk/>
            <pc:sldMk cId="1528937751" sldId="2134805528"/>
            <ac:spMk id="4" creationId="{5C8D5078-B8D0-4095-8466-64F7613FE8A6}"/>
          </ac:spMkLst>
        </pc:spChg>
      </pc:sldChg>
    </pc:docChg>
  </pc:docChgLst>
  <pc:docChgLst>
    <pc:chgData name="Singh, Shubhranshu (Nokia - DE/Munich)" userId="097f1207-65ae-4ec2-ab78-00d0c1d73a58" providerId="ADAL" clId="{D00635DE-B5E3-4823-A636-8DDF93DB9559}"/>
    <pc:docChg chg="undo custSel addSld delSld modSld">
      <pc:chgData name="Singh, Shubhranshu (Nokia - DE/Munich)" userId="097f1207-65ae-4ec2-ab78-00d0c1d73a58" providerId="ADAL" clId="{D00635DE-B5E3-4823-A636-8DDF93DB9559}" dt="2021-04-27T07:35:34.278" v="242"/>
      <pc:docMkLst>
        <pc:docMk/>
      </pc:docMkLst>
      <pc:sldChg chg="modSp mod">
        <pc:chgData name="Singh, Shubhranshu (Nokia - DE/Munich)" userId="097f1207-65ae-4ec2-ab78-00d0c1d73a58" providerId="ADAL" clId="{D00635DE-B5E3-4823-A636-8DDF93DB9559}" dt="2021-04-27T07:22:36.240" v="149" actId="108"/>
        <pc:sldMkLst>
          <pc:docMk/>
          <pc:sldMk cId="356227305" sldId="816"/>
        </pc:sldMkLst>
        <pc:spChg chg="mod">
          <ac:chgData name="Singh, Shubhranshu (Nokia - DE/Munich)" userId="097f1207-65ae-4ec2-ab78-00d0c1d73a58" providerId="ADAL" clId="{D00635DE-B5E3-4823-A636-8DDF93DB9559}" dt="2021-04-27T07:22:36.240" v="149" actId="108"/>
          <ac:spMkLst>
            <pc:docMk/>
            <pc:sldMk cId="356227305" sldId="816"/>
            <ac:spMk id="29716" creationId="{00000000-0000-0000-0000-000000000000}"/>
          </ac:spMkLst>
        </pc:spChg>
      </pc:sldChg>
      <pc:sldChg chg="modSp mod">
        <pc:chgData name="Singh, Shubhranshu (Nokia - DE/Munich)" userId="097f1207-65ae-4ec2-ab78-00d0c1d73a58" providerId="ADAL" clId="{D00635DE-B5E3-4823-A636-8DDF93DB9559}" dt="2021-04-27T07:23:14.438" v="153" actId="14100"/>
        <pc:sldMkLst>
          <pc:docMk/>
          <pc:sldMk cId="638605840" sldId="2134805417"/>
        </pc:sldMkLst>
        <pc:spChg chg="mod">
          <ac:chgData name="Singh, Shubhranshu (Nokia - DE/Munich)" userId="097f1207-65ae-4ec2-ab78-00d0c1d73a58" providerId="ADAL" clId="{D00635DE-B5E3-4823-A636-8DDF93DB9559}" dt="2021-04-27T07:23:14.438" v="153" actId="14100"/>
          <ac:spMkLst>
            <pc:docMk/>
            <pc:sldMk cId="638605840" sldId="2134805417"/>
            <ac:spMk id="4" creationId="{5C8D5078-B8D0-4095-8466-64F7613FE8A6}"/>
          </ac:spMkLst>
        </pc:spChg>
      </pc:sldChg>
      <pc:sldChg chg="del">
        <pc:chgData name="Singh, Shubhranshu (Nokia - DE/Munich)" userId="097f1207-65ae-4ec2-ab78-00d0c1d73a58" providerId="ADAL" clId="{D00635DE-B5E3-4823-A636-8DDF93DB9559}" dt="2021-04-27T07:33:46.779" v="206" actId="47"/>
        <pc:sldMkLst>
          <pc:docMk/>
          <pc:sldMk cId="2261274786" sldId="2134805432"/>
        </pc:sldMkLst>
      </pc:sldChg>
      <pc:sldChg chg="modSp mod">
        <pc:chgData name="Singh, Shubhranshu (Nokia - DE/Munich)" userId="097f1207-65ae-4ec2-ab78-00d0c1d73a58" providerId="ADAL" clId="{D00635DE-B5E3-4823-A636-8DDF93DB9559}" dt="2021-04-27T07:31:59.810" v="197" actId="20577"/>
        <pc:sldMkLst>
          <pc:docMk/>
          <pc:sldMk cId="3118820506" sldId="2134805433"/>
        </pc:sldMkLst>
        <pc:spChg chg="mod">
          <ac:chgData name="Singh, Shubhranshu (Nokia - DE/Munich)" userId="097f1207-65ae-4ec2-ab78-00d0c1d73a58" providerId="ADAL" clId="{D00635DE-B5E3-4823-A636-8DDF93DB9559}" dt="2021-04-27T07:31:55.853" v="195" actId="1076"/>
          <ac:spMkLst>
            <pc:docMk/>
            <pc:sldMk cId="3118820506" sldId="2134805433"/>
            <ac:spMk id="2" creationId="{9F31353A-D41F-4CEF-B45F-7706562425B6}"/>
          </ac:spMkLst>
        </pc:spChg>
        <pc:spChg chg="mod">
          <ac:chgData name="Singh, Shubhranshu (Nokia - DE/Munich)" userId="097f1207-65ae-4ec2-ab78-00d0c1d73a58" providerId="ADAL" clId="{D00635DE-B5E3-4823-A636-8DDF93DB9559}" dt="2021-04-27T07:31:52.879" v="194" actId="1076"/>
          <ac:spMkLst>
            <pc:docMk/>
            <pc:sldMk cId="3118820506" sldId="2134805433"/>
            <ac:spMk id="3" creationId="{79F23BEF-877A-4273-A1A7-C381CB9FFA3C}"/>
          </ac:spMkLst>
        </pc:spChg>
        <pc:spChg chg="mod">
          <ac:chgData name="Singh, Shubhranshu (Nokia - DE/Munich)" userId="097f1207-65ae-4ec2-ab78-00d0c1d73a58" providerId="ADAL" clId="{D00635DE-B5E3-4823-A636-8DDF93DB9559}" dt="2021-04-27T07:31:59.810" v="197" actId="20577"/>
          <ac:spMkLst>
            <pc:docMk/>
            <pc:sldMk cId="3118820506" sldId="2134805433"/>
            <ac:spMk id="4" creationId="{5C8D5078-B8D0-4095-8466-64F7613FE8A6}"/>
          </ac:spMkLst>
        </pc:spChg>
      </pc:sldChg>
      <pc:sldChg chg="modSp add mod">
        <pc:chgData name="Singh, Shubhranshu (Nokia - DE/Munich)" userId="097f1207-65ae-4ec2-ab78-00d0c1d73a58" providerId="ADAL" clId="{D00635DE-B5E3-4823-A636-8DDF93DB9559}" dt="2021-04-27T07:34:13.814" v="211" actId="255"/>
        <pc:sldMkLst>
          <pc:docMk/>
          <pc:sldMk cId="2613265209" sldId="2134805436"/>
        </pc:sldMkLst>
        <pc:spChg chg="mod">
          <ac:chgData name="Singh, Shubhranshu (Nokia - DE/Munich)" userId="097f1207-65ae-4ec2-ab78-00d0c1d73a58" providerId="ADAL" clId="{D00635DE-B5E3-4823-A636-8DDF93DB9559}" dt="2021-04-27T07:34:13.814" v="211" actId="255"/>
          <ac:spMkLst>
            <pc:docMk/>
            <pc:sldMk cId="2613265209" sldId="2134805436"/>
            <ac:spMk id="4" creationId="{5C8D5078-B8D0-4095-8466-64F7613FE8A6}"/>
          </ac:spMkLst>
        </pc:spChg>
      </pc:sldChg>
      <pc:sldChg chg="del">
        <pc:chgData name="Singh, Shubhranshu (Nokia - DE/Munich)" userId="097f1207-65ae-4ec2-ab78-00d0c1d73a58" providerId="ADAL" clId="{D00635DE-B5E3-4823-A636-8DDF93DB9559}" dt="2021-04-22T20:07:37.090" v="2" actId="47"/>
        <pc:sldMkLst>
          <pc:docMk/>
          <pc:sldMk cId="1289635415" sldId="2134805458"/>
        </pc:sldMkLst>
      </pc:sldChg>
      <pc:sldChg chg="modSp mod">
        <pc:chgData name="Singh, Shubhranshu (Nokia - DE/Munich)" userId="097f1207-65ae-4ec2-ab78-00d0c1d73a58" providerId="ADAL" clId="{D00635DE-B5E3-4823-A636-8DDF93DB9559}" dt="2021-04-27T07:34:47.200" v="238" actId="6549"/>
        <pc:sldMkLst>
          <pc:docMk/>
          <pc:sldMk cId="658360804" sldId="2134805460"/>
        </pc:sldMkLst>
        <pc:spChg chg="mod">
          <ac:chgData name="Singh, Shubhranshu (Nokia - DE/Munich)" userId="097f1207-65ae-4ec2-ab78-00d0c1d73a58" providerId="ADAL" clId="{D00635DE-B5E3-4823-A636-8DDF93DB9559}" dt="2021-04-27T07:34:47.200" v="238" actId="6549"/>
          <ac:spMkLst>
            <pc:docMk/>
            <pc:sldMk cId="658360804" sldId="2134805460"/>
            <ac:spMk id="4" creationId="{5C8D5078-B8D0-4095-8466-64F7613FE8A6}"/>
          </ac:spMkLst>
        </pc:spChg>
      </pc:sldChg>
      <pc:sldChg chg="add">
        <pc:chgData name="Singh, Shubhranshu (Nokia - DE/Munich)" userId="097f1207-65ae-4ec2-ab78-00d0c1d73a58" providerId="ADAL" clId="{D00635DE-B5E3-4823-A636-8DDF93DB9559}" dt="2021-04-22T20:07:22.299" v="0"/>
        <pc:sldMkLst>
          <pc:docMk/>
          <pc:sldMk cId="3926250355" sldId="2134805469"/>
        </pc:sldMkLst>
      </pc:sldChg>
      <pc:sldChg chg="add">
        <pc:chgData name="Singh, Shubhranshu (Nokia - DE/Munich)" userId="097f1207-65ae-4ec2-ab78-00d0c1d73a58" providerId="ADAL" clId="{D00635DE-B5E3-4823-A636-8DDF93DB9559}" dt="2021-04-27T07:33:40.059" v="205"/>
        <pc:sldMkLst>
          <pc:docMk/>
          <pc:sldMk cId="2204913666" sldId="2134805470"/>
        </pc:sldMkLst>
      </pc:sldChg>
      <pc:sldChg chg="modSp add del mod">
        <pc:chgData name="Singh, Shubhranshu (Nokia - DE/Munich)" userId="097f1207-65ae-4ec2-ab78-00d0c1d73a58" providerId="ADAL" clId="{D00635DE-B5E3-4823-A636-8DDF93DB9559}" dt="2021-04-27T07:33:35.233" v="204" actId="2696"/>
        <pc:sldMkLst>
          <pc:docMk/>
          <pc:sldMk cId="2676869222" sldId="2134805470"/>
        </pc:sldMkLst>
        <pc:spChg chg="mod">
          <ac:chgData name="Singh, Shubhranshu (Nokia - DE/Munich)" userId="097f1207-65ae-4ec2-ab78-00d0c1d73a58" providerId="ADAL" clId="{D00635DE-B5E3-4823-A636-8DDF93DB9559}" dt="2021-04-22T20:08:21.193" v="12" actId="20577"/>
          <ac:spMkLst>
            <pc:docMk/>
            <pc:sldMk cId="2676869222" sldId="2134805470"/>
            <ac:spMk id="4" creationId="{5C8D5078-B8D0-4095-8466-64F7613FE8A6}"/>
          </ac:spMkLst>
        </pc:spChg>
      </pc:sldChg>
      <pc:sldChg chg="modSp add mod">
        <pc:chgData name="Singh, Shubhranshu (Nokia - DE/Munich)" userId="097f1207-65ae-4ec2-ab78-00d0c1d73a58" providerId="ADAL" clId="{D00635DE-B5E3-4823-A636-8DDF93DB9559}" dt="2021-04-27T07:32:44.255" v="202" actId="20577"/>
        <pc:sldMkLst>
          <pc:docMk/>
          <pc:sldMk cId="3046812945" sldId="2134805471"/>
        </pc:sldMkLst>
        <pc:spChg chg="mod">
          <ac:chgData name="Singh, Shubhranshu (Nokia - DE/Munich)" userId="097f1207-65ae-4ec2-ab78-00d0c1d73a58" providerId="ADAL" clId="{D00635DE-B5E3-4823-A636-8DDF93DB9559}" dt="2021-04-27T07:32:44.255" v="202" actId="20577"/>
          <ac:spMkLst>
            <pc:docMk/>
            <pc:sldMk cId="3046812945" sldId="2134805471"/>
            <ac:spMk id="4" creationId="{5C8D5078-B8D0-4095-8466-64F7613FE8A6}"/>
          </ac:spMkLst>
        </pc:spChg>
      </pc:sldChg>
      <pc:sldChg chg="modSp mod">
        <pc:chgData name="Singh, Shubhranshu (Nokia - DE/Munich)" userId="097f1207-65ae-4ec2-ab78-00d0c1d73a58" providerId="ADAL" clId="{D00635DE-B5E3-4823-A636-8DDF93DB9559}" dt="2021-04-27T07:21:57.644" v="140" actId="255"/>
        <pc:sldMkLst>
          <pc:docMk/>
          <pc:sldMk cId="191217492" sldId="2134805472"/>
        </pc:sldMkLst>
        <pc:spChg chg="mod">
          <ac:chgData name="Singh, Shubhranshu (Nokia - DE/Munich)" userId="097f1207-65ae-4ec2-ab78-00d0c1d73a58" providerId="ADAL" clId="{D00635DE-B5E3-4823-A636-8DDF93DB9559}" dt="2021-04-27T07:21:57.644" v="140" actId="255"/>
          <ac:spMkLst>
            <pc:docMk/>
            <pc:sldMk cId="191217492" sldId="2134805472"/>
            <ac:spMk id="29716" creationId="{00000000-0000-0000-0000-000000000000}"/>
          </ac:spMkLst>
        </pc:spChg>
        <pc:graphicFrameChg chg="mod modGraphic">
          <ac:chgData name="Singh, Shubhranshu (Nokia - DE/Munich)" userId="097f1207-65ae-4ec2-ab78-00d0c1d73a58" providerId="ADAL" clId="{D00635DE-B5E3-4823-A636-8DDF93DB9559}" dt="2021-04-27T07:21:40.786" v="139" actId="14734"/>
          <ac:graphicFrameMkLst>
            <pc:docMk/>
            <pc:sldMk cId="191217492" sldId="2134805472"/>
            <ac:graphicFrameMk id="9" creationId="{00000000-0000-0000-0000-000000000000}"/>
          </ac:graphicFrameMkLst>
        </pc:graphicFrameChg>
      </pc:sldChg>
      <pc:sldChg chg="add del">
        <pc:chgData name="Singh, Shubhranshu (Nokia - DE/Munich)" userId="097f1207-65ae-4ec2-ab78-00d0c1d73a58" providerId="ADAL" clId="{D00635DE-B5E3-4823-A636-8DDF93DB9559}" dt="2021-04-22T20:07:34.133" v="1" actId="47"/>
        <pc:sldMkLst>
          <pc:docMk/>
          <pc:sldMk cId="3508041192" sldId="2134805472"/>
        </pc:sldMkLst>
      </pc:sldChg>
      <pc:sldChg chg="modSp mod">
        <pc:chgData name="Singh, Shubhranshu (Nokia - DE/Munich)" userId="097f1207-65ae-4ec2-ab78-00d0c1d73a58" providerId="ADAL" clId="{D00635DE-B5E3-4823-A636-8DDF93DB9559}" dt="2021-04-27T07:24:13.060" v="164" actId="6549"/>
        <pc:sldMkLst>
          <pc:docMk/>
          <pc:sldMk cId="4045133485" sldId="2134805473"/>
        </pc:sldMkLst>
        <pc:spChg chg="mod">
          <ac:chgData name="Singh, Shubhranshu (Nokia - DE/Munich)" userId="097f1207-65ae-4ec2-ab78-00d0c1d73a58" providerId="ADAL" clId="{D00635DE-B5E3-4823-A636-8DDF93DB9559}" dt="2021-04-27T07:24:08.176" v="159" actId="1076"/>
          <ac:spMkLst>
            <pc:docMk/>
            <pc:sldMk cId="4045133485" sldId="2134805473"/>
            <ac:spMk id="2" creationId="{9F31353A-D41F-4CEF-B45F-7706562425B6}"/>
          </ac:spMkLst>
        </pc:spChg>
        <pc:spChg chg="mod">
          <ac:chgData name="Singh, Shubhranshu (Nokia - DE/Munich)" userId="097f1207-65ae-4ec2-ab78-00d0c1d73a58" providerId="ADAL" clId="{D00635DE-B5E3-4823-A636-8DDF93DB9559}" dt="2021-04-27T07:24:05.764" v="158" actId="1076"/>
          <ac:spMkLst>
            <pc:docMk/>
            <pc:sldMk cId="4045133485" sldId="2134805473"/>
            <ac:spMk id="3" creationId="{79F23BEF-877A-4273-A1A7-C381CB9FFA3C}"/>
          </ac:spMkLst>
        </pc:spChg>
        <pc:spChg chg="mod">
          <ac:chgData name="Singh, Shubhranshu (Nokia - DE/Munich)" userId="097f1207-65ae-4ec2-ab78-00d0c1d73a58" providerId="ADAL" clId="{D00635DE-B5E3-4823-A636-8DDF93DB9559}" dt="2021-04-27T07:24:13.060" v="164" actId="6549"/>
          <ac:spMkLst>
            <pc:docMk/>
            <pc:sldMk cId="4045133485" sldId="2134805473"/>
            <ac:spMk id="4" creationId="{5C8D5078-B8D0-4095-8466-64F7613FE8A6}"/>
          </ac:spMkLst>
        </pc:spChg>
      </pc:sldChg>
      <pc:sldChg chg="modSp mod">
        <pc:chgData name="Singh, Shubhranshu (Nokia - DE/Munich)" userId="097f1207-65ae-4ec2-ab78-00d0c1d73a58" providerId="ADAL" clId="{D00635DE-B5E3-4823-A636-8DDF93DB9559}" dt="2021-04-27T07:31:30.114" v="184" actId="1076"/>
        <pc:sldMkLst>
          <pc:docMk/>
          <pc:sldMk cId="4028330678" sldId="2134805474"/>
        </pc:sldMkLst>
        <pc:spChg chg="mod">
          <ac:chgData name="Singh, Shubhranshu (Nokia - DE/Munich)" userId="097f1207-65ae-4ec2-ab78-00d0c1d73a58" providerId="ADAL" clId="{D00635DE-B5E3-4823-A636-8DDF93DB9559}" dt="2021-04-27T07:31:30.114" v="184" actId="1076"/>
          <ac:spMkLst>
            <pc:docMk/>
            <pc:sldMk cId="4028330678" sldId="2134805474"/>
            <ac:spMk id="2" creationId="{9F31353A-D41F-4CEF-B45F-7706562425B6}"/>
          </ac:spMkLst>
        </pc:spChg>
        <pc:spChg chg="mod">
          <ac:chgData name="Singh, Shubhranshu (Nokia - DE/Munich)" userId="097f1207-65ae-4ec2-ab78-00d0c1d73a58" providerId="ADAL" clId="{D00635DE-B5E3-4823-A636-8DDF93DB9559}" dt="2021-04-27T07:31:27.935" v="183" actId="1076"/>
          <ac:spMkLst>
            <pc:docMk/>
            <pc:sldMk cId="4028330678" sldId="2134805474"/>
            <ac:spMk id="3" creationId="{79F23BEF-877A-4273-A1A7-C381CB9FFA3C}"/>
          </ac:spMkLst>
        </pc:spChg>
        <pc:spChg chg="mod">
          <ac:chgData name="Singh, Shubhranshu (Nokia - DE/Munich)" userId="097f1207-65ae-4ec2-ab78-00d0c1d73a58" providerId="ADAL" clId="{D00635DE-B5E3-4823-A636-8DDF93DB9559}" dt="2021-04-27T07:31:20.754" v="182" actId="27636"/>
          <ac:spMkLst>
            <pc:docMk/>
            <pc:sldMk cId="4028330678" sldId="2134805474"/>
            <ac:spMk id="4" creationId="{5C8D5078-B8D0-4095-8466-64F7613FE8A6}"/>
          </ac:spMkLst>
        </pc:spChg>
      </pc:sldChg>
      <pc:sldChg chg="del">
        <pc:chgData name="Singh, Shubhranshu (Nokia - DE/Munich)" userId="097f1207-65ae-4ec2-ab78-00d0c1d73a58" providerId="ADAL" clId="{D00635DE-B5E3-4823-A636-8DDF93DB9559}" dt="2021-04-27T07:33:20.002" v="203" actId="47"/>
        <pc:sldMkLst>
          <pc:docMk/>
          <pc:sldMk cId="1289635415" sldId="2134805475"/>
        </pc:sldMkLst>
      </pc:sldChg>
      <pc:sldChg chg="del">
        <pc:chgData name="Singh, Shubhranshu (Nokia - DE/Munich)" userId="097f1207-65ae-4ec2-ab78-00d0c1d73a58" providerId="ADAL" clId="{D00635DE-B5E3-4823-A636-8DDF93DB9559}" dt="2021-04-27T07:33:56.658" v="207" actId="47"/>
        <pc:sldMkLst>
          <pc:docMk/>
          <pc:sldMk cId="3046812945" sldId="2134805476"/>
        </pc:sldMkLst>
      </pc:sldChg>
      <pc:sldChg chg="del">
        <pc:chgData name="Singh, Shubhranshu (Nokia - DE/Munich)" userId="097f1207-65ae-4ec2-ab78-00d0c1d73a58" providerId="ADAL" clId="{D00635DE-B5E3-4823-A636-8DDF93DB9559}" dt="2021-04-27T07:35:01.328" v="239" actId="47"/>
        <pc:sldMkLst>
          <pc:docMk/>
          <pc:sldMk cId="3508041192" sldId="2134805477"/>
        </pc:sldMkLst>
      </pc:sldChg>
      <pc:sldChg chg="add">
        <pc:chgData name="Singh, Shubhranshu (Nokia - DE/Munich)" userId="097f1207-65ae-4ec2-ab78-00d0c1d73a58" providerId="ADAL" clId="{D00635DE-B5E3-4823-A636-8DDF93DB9559}" dt="2021-04-27T07:35:34.278" v="242"/>
        <pc:sldMkLst>
          <pc:docMk/>
          <pc:sldMk cId="904971493" sldId="2134805478"/>
        </pc:sldMkLst>
      </pc:sldChg>
      <pc:sldChg chg="del">
        <pc:chgData name="Singh, Shubhranshu (Nokia - DE/Munich)" userId="097f1207-65ae-4ec2-ab78-00d0c1d73a58" providerId="ADAL" clId="{D00635DE-B5E3-4823-A636-8DDF93DB9559}" dt="2021-04-27T07:35:31.716" v="241" actId="2696"/>
        <pc:sldMkLst>
          <pc:docMk/>
          <pc:sldMk cId="2575587269" sldId="2134805478"/>
        </pc:sldMkLst>
      </pc:sldChg>
      <pc:sldChg chg="del">
        <pc:chgData name="Singh, Shubhranshu (Nokia - DE/Munich)" userId="097f1207-65ae-4ec2-ab78-00d0c1d73a58" providerId="ADAL" clId="{D00635DE-B5E3-4823-A636-8DDF93DB9559}" dt="2021-04-27T07:35:16.896" v="240" actId="47"/>
        <pc:sldMkLst>
          <pc:docMk/>
          <pc:sldMk cId="658360804" sldId="2134805479"/>
        </pc:sldMkLst>
      </pc:sldChg>
    </pc:docChg>
  </pc:docChgLst>
  <pc:docChgLst>
    <pc:chgData name="Georgios Gkellas (Nokia)" userId="S::georgios.gkellas@nokia.com::14ba2343-2450-4dd7-bb6e-3fde05a409c8" providerId="AD" clId="Web-{A3F5C899-7CCD-7E7F-0B25-0ADC0F8054F1}"/>
    <pc:docChg chg="modSld">
      <pc:chgData name="Georgios Gkellas (Nokia)" userId="S::georgios.gkellas@nokia.com::14ba2343-2450-4dd7-bb6e-3fde05a409c8" providerId="AD" clId="Web-{A3F5C899-7CCD-7E7F-0B25-0ADC0F8054F1}" dt="2023-03-03T19:57:05.541" v="3" actId="20577"/>
      <pc:docMkLst>
        <pc:docMk/>
      </pc:docMkLst>
      <pc:sldChg chg="modSp">
        <pc:chgData name="Georgios Gkellas (Nokia)" userId="S::georgios.gkellas@nokia.com::14ba2343-2450-4dd7-bb6e-3fde05a409c8" providerId="AD" clId="Web-{A3F5C899-7CCD-7E7F-0B25-0ADC0F8054F1}" dt="2023-03-03T19:57:05.541" v="3" actId="20577"/>
        <pc:sldMkLst>
          <pc:docMk/>
          <pc:sldMk cId="2649463080" sldId="2134805617"/>
        </pc:sldMkLst>
        <pc:spChg chg="mod">
          <ac:chgData name="Georgios Gkellas (Nokia)" userId="S::georgios.gkellas@nokia.com::14ba2343-2450-4dd7-bb6e-3fde05a409c8" providerId="AD" clId="Web-{A3F5C899-7CCD-7E7F-0B25-0ADC0F8054F1}" dt="2023-03-03T19:57:05.541" v="3" actId="20577"/>
          <ac:spMkLst>
            <pc:docMk/>
            <pc:sldMk cId="2649463080" sldId="2134805617"/>
            <ac:spMk id="4" creationId="{FD9B9349-5219-4A4E-8125-7E6F849D4C07}"/>
          </ac:spMkLst>
        </pc:spChg>
      </pc:sldChg>
    </pc:docChg>
  </pc:docChgLst>
  <pc:docChgLst>
    <pc:chgData name="Casati, Alessio (Nokia - GB)" userId="S::alessio.casati@nokia.com::6f050b0a-bf61-49f1-93be-076af52cf2e7" providerId="AD" clId="Web-{B3F5D90B-BC40-3838-A5D5-E535F53FAD3B}"/>
    <pc:docChg chg="addSld delSld modSld">
      <pc:chgData name="Casati, Alessio (Nokia - GB)" userId="S::alessio.casati@nokia.com::6f050b0a-bf61-49f1-93be-076af52cf2e7" providerId="AD" clId="Web-{B3F5D90B-BC40-3838-A5D5-E535F53FAD3B}" dt="2022-06-06T14:34:52.885" v="695" actId="1076"/>
      <pc:docMkLst>
        <pc:docMk/>
      </pc:docMkLst>
      <pc:sldChg chg="modSp">
        <pc:chgData name="Casati, Alessio (Nokia - GB)" userId="S::alessio.casati@nokia.com::6f050b0a-bf61-49f1-93be-076af52cf2e7" providerId="AD" clId="Web-{B3F5D90B-BC40-3838-A5D5-E535F53FAD3B}" dt="2022-06-06T13:52:26.828" v="200" actId="20577"/>
        <pc:sldMkLst>
          <pc:docMk/>
          <pc:sldMk cId="1762226801" sldId="2146846817"/>
        </pc:sldMkLst>
        <pc:spChg chg="mod">
          <ac:chgData name="Casati, Alessio (Nokia - GB)" userId="S::alessio.casati@nokia.com::6f050b0a-bf61-49f1-93be-076af52cf2e7" providerId="AD" clId="Web-{B3F5D90B-BC40-3838-A5D5-E535F53FAD3B}" dt="2022-06-06T13:52:26.828" v="200" actId="20577"/>
          <ac:spMkLst>
            <pc:docMk/>
            <pc:sldMk cId="1762226801" sldId="2146846817"/>
            <ac:spMk id="4" creationId="{CD72C33D-DF40-4601-AF02-8DFD5A6EA958}"/>
          </ac:spMkLst>
        </pc:spChg>
      </pc:sldChg>
      <pc:sldChg chg="modSp">
        <pc:chgData name="Casati, Alessio (Nokia - GB)" userId="S::alessio.casati@nokia.com::6f050b0a-bf61-49f1-93be-076af52cf2e7" providerId="AD" clId="Web-{B3F5D90B-BC40-3838-A5D5-E535F53FAD3B}" dt="2022-06-06T13:31:08.426" v="115" actId="20577"/>
        <pc:sldMkLst>
          <pc:docMk/>
          <pc:sldMk cId="1638951385" sldId="2146846818"/>
        </pc:sldMkLst>
        <pc:spChg chg="mod">
          <ac:chgData name="Casati, Alessio (Nokia - GB)" userId="S::alessio.casati@nokia.com::6f050b0a-bf61-49f1-93be-076af52cf2e7" providerId="AD" clId="Web-{B3F5D90B-BC40-3838-A5D5-E535F53FAD3B}" dt="2022-06-06T13:31:08.426" v="115" actId="20577"/>
          <ac:spMkLst>
            <pc:docMk/>
            <pc:sldMk cId="1638951385" sldId="2146846818"/>
            <ac:spMk id="4" creationId="{CD72C33D-DF40-4601-AF02-8DFD5A6EA958}"/>
          </ac:spMkLst>
        </pc:spChg>
      </pc:sldChg>
      <pc:sldChg chg="addSp delSp modSp add replId">
        <pc:chgData name="Casati, Alessio (Nokia - GB)" userId="S::alessio.casati@nokia.com::6f050b0a-bf61-49f1-93be-076af52cf2e7" providerId="AD" clId="Web-{B3F5D90B-BC40-3838-A5D5-E535F53FAD3B}" dt="2022-06-06T14:34:11.931" v="673" actId="20577"/>
        <pc:sldMkLst>
          <pc:docMk/>
          <pc:sldMk cId="31144451" sldId="2146846844"/>
        </pc:sldMkLst>
        <pc:spChg chg="mod">
          <ac:chgData name="Casati, Alessio (Nokia - GB)" userId="S::alessio.casati@nokia.com::6f050b0a-bf61-49f1-93be-076af52cf2e7" providerId="AD" clId="Web-{B3F5D90B-BC40-3838-A5D5-E535F53FAD3B}" dt="2022-06-06T14:34:11.931" v="673" actId="20577"/>
          <ac:spMkLst>
            <pc:docMk/>
            <pc:sldMk cId="31144451" sldId="2146846844"/>
            <ac:spMk id="4" creationId="{CD72C33D-DF40-4601-AF02-8DFD5A6EA958}"/>
          </ac:spMkLst>
        </pc:spChg>
        <pc:spChg chg="add del">
          <ac:chgData name="Casati, Alessio (Nokia - GB)" userId="S::alessio.casati@nokia.com::6f050b0a-bf61-49f1-93be-076af52cf2e7" providerId="AD" clId="Web-{B3F5D90B-BC40-3838-A5D5-E535F53FAD3B}" dt="2022-06-06T13:42:03.721" v="152"/>
          <ac:spMkLst>
            <pc:docMk/>
            <pc:sldMk cId="31144451" sldId="2146846844"/>
            <ac:spMk id="5" creationId="{6FD6E1A9-9E2A-40CA-301E-BEB0690770F8}"/>
          </ac:spMkLst>
        </pc:spChg>
      </pc:sldChg>
      <pc:sldChg chg="modSp add replId">
        <pc:chgData name="Casati, Alessio (Nokia - GB)" userId="S::alessio.casati@nokia.com::6f050b0a-bf61-49f1-93be-076af52cf2e7" providerId="AD" clId="Web-{B3F5D90B-BC40-3838-A5D5-E535F53FAD3B}" dt="2022-06-06T14:34:52.885" v="695" actId="1076"/>
        <pc:sldMkLst>
          <pc:docMk/>
          <pc:sldMk cId="1198315647" sldId="2146846845"/>
        </pc:sldMkLst>
        <pc:spChg chg="mod">
          <ac:chgData name="Casati, Alessio (Nokia - GB)" userId="S::alessio.casati@nokia.com::6f050b0a-bf61-49f1-93be-076af52cf2e7" providerId="AD" clId="Web-{B3F5D90B-BC40-3838-A5D5-E535F53FAD3B}" dt="2022-06-06T14:34:52.885" v="695" actId="1076"/>
          <ac:spMkLst>
            <pc:docMk/>
            <pc:sldMk cId="1198315647" sldId="2146846845"/>
            <ac:spMk id="4" creationId="{CD72C33D-DF40-4601-AF02-8DFD5A6EA958}"/>
          </ac:spMkLst>
        </pc:spChg>
      </pc:sldChg>
      <pc:sldChg chg="modSp add replId">
        <pc:chgData name="Casati, Alessio (Nokia - GB)" userId="S::alessio.casati@nokia.com::6f050b0a-bf61-49f1-93be-076af52cf2e7" providerId="AD" clId="Web-{B3F5D90B-BC40-3838-A5D5-E535F53FAD3B}" dt="2022-06-06T14:17:40.844" v="451" actId="20577"/>
        <pc:sldMkLst>
          <pc:docMk/>
          <pc:sldMk cId="1458889007" sldId="2146846846"/>
        </pc:sldMkLst>
        <pc:spChg chg="mod">
          <ac:chgData name="Casati, Alessio (Nokia - GB)" userId="S::alessio.casati@nokia.com::6f050b0a-bf61-49f1-93be-076af52cf2e7" providerId="AD" clId="Web-{B3F5D90B-BC40-3838-A5D5-E535F53FAD3B}" dt="2022-06-06T14:17:40.844" v="451" actId="20577"/>
          <ac:spMkLst>
            <pc:docMk/>
            <pc:sldMk cId="1458889007" sldId="2146846846"/>
            <ac:spMk id="4" creationId="{CD72C33D-DF40-4601-AF02-8DFD5A6EA958}"/>
          </ac:spMkLst>
        </pc:spChg>
      </pc:sldChg>
      <pc:sldChg chg="modSp add replId">
        <pc:chgData name="Casati, Alessio (Nokia - GB)" userId="S::alessio.casati@nokia.com::6f050b0a-bf61-49f1-93be-076af52cf2e7" providerId="AD" clId="Web-{B3F5D90B-BC40-3838-A5D5-E535F53FAD3B}" dt="2022-06-06T14:17:31.907" v="449" actId="20577"/>
        <pc:sldMkLst>
          <pc:docMk/>
          <pc:sldMk cId="1689831152" sldId="2146846847"/>
        </pc:sldMkLst>
        <pc:spChg chg="mod">
          <ac:chgData name="Casati, Alessio (Nokia - GB)" userId="S::alessio.casati@nokia.com::6f050b0a-bf61-49f1-93be-076af52cf2e7" providerId="AD" clId="Web-{B3F5D90B-BC40-3838-A5D5-E535F53FAD3B}" dt="2022-06-06T14:17:31.907" v="449" actId="20577"/>
          <ac:spMkLst>
            <pc:docMk/>
            <pc:sldMk cId="1689831152" sldId="2146846847"/>
            <ac:spMk id="4" creationId="{CD72C33D-DF40-4601-AF02-8DFD5A6EA958}"/>
          </ac:spMkLst>
        </pc:spChg>
      </pc:sldChg>
      <pc:sldChg chg="modSp add replId">
        <pc:chgData name="Casati, Alessio (Nokia - GB)" userId="S::alessio.casati@nokia.com::6f050b0a-bf61-49f1-93be-076af52cf2e7" providerId="AD" clId="Web-{B3F5D90B-BC40-3838-A5D5-E535F53FAD3B}" dt="2022-06-06T14:22:23.400" v="508" actId="20577"/>
        <pc:sldMkLst>
          <pc:docMk/>
          <pc:sldMk cId="2601535721" sldId="2146846848"/>
        </pc:sldMkLst>
        <pc:spChg chg="mod">
          <ac:chgData name="Casati, Alessio (Nokia - GB)" userId="S::alessio.casati@nokia.com::6f050b0a-bf61-49f1-93be-076af52cf2e7" providerId="AD" clId="Web-{B3F5D90B-BC40-3838-A5D5-E535F53FAD3B}" dt="2022-06-06T14:22:23.400" v="508" actId="20577"/>
          <ac:spMkLst>
            <pc:docMk/>
            <pc:sldMk cId="2601535721" sldId="2146846848"/>
            <ac:spMk id="4" creationId="{CD72C33D-DF40-4601-AF02-8DFD5A6EA958}"/>
          </ac:spMkLst>
        </pc:spChg>
      </pc:sldChg>
      <pc:sldChg chg="add del replId">
        <pc:chgData name="Casati, Alessio (Nokia - GB)" userId="S::alessio.casati@nokia.com::6f050b0a-bf61-49f1-93be-076af52cf2e7" providerId="AD" clId="Web-{B3F5D90B-BC40-3838-A5D5-E535F53FAD3B}" dt="2022-06-06T14:00:32.838" v="280"/>
        <pc:sldMkLst>
          <pc:docMk/>
          <pc:sldMk cId="1681036726" sldId="2146846849"/>
        </pc:sldMkLst>
      </pc:sldChg>
      <pc:sldChg chg="addSp modSp add replId">
        <pc:chgData name="Casati, Alessio (Nokia - GB)" userId="S::alessio.casati@nokia.com::6f050b0a-bf61-49f1-93be-076af52cf2e7" providerId="AD" clId="Web-{B3F5D90B-BC40-3838-A5D5-E535F53FAD3B}" dt="2022-06-06T14:29:30.831" v="612" actId="20577"/>
        <pc:sldMkLst>
          <pc:docMk/>
          <pc:sldMk cId="414681126" sldId="2146846850"/>
        </pc:sldMkLst>
        <pc:spChg chg="mod">
          <ac:chgData name="Casati, Alessio (Nokia - GB)" userId="S::alessio.casati@nokia.com::6f050b0a-bf61-49f1-93be-076af52cf2e7" providerId="AD" clId="Web-{B3F5D90B-BC40-3838-A5D5-E535F53FAD3B}" dt="2022-06-06T14:29:30.831" v="612" actId="20577"/>
          <ac:spMkLst>
            <pc:docMk/>
            <pc:sldMk cId="414681126" sldId="2146846850"/>
            <ac:spMk id="4" creationId="{CD72C33D-DF40-4601-AF02-8DFD5A6EA958}"/>
          </ac:spMkLst>
        </pc:spChg>
        <pc:picChg chg="add mod">
          <ac:chgData name="Casati, Alessio (Nokia - GB)" userId="S::alessio.casati@nokia.com::6f050b0a-bf61-49f1-93be-076af52cf2e7" providerId="AD" clId="Web-{B3F5D90B-BC40-3838-A5D5-E535F53FAD3B}" dt="2022-06-06T14:23:46.293" v="529" actId="1076"/>
          <ac:picMkLst>
            <pc:docMk/>
            <pc:sldMk cId="414681126" sldId="2146846850"/>
            <ac:picMk id="5" creationId="{83FFF293-5A97-63F7-4BC3-06B5D6F3A40A}"/>
          </ac:picMkLst>
        </pc:picChg>
      </pc:sldChg>
      <pc:sldChg chg="modSp add replId">
        <pc:chgData name="Casati, Alessio (Nokia - GB)" userId="S::alessio.casati@nokia.com::6f050b0a-bf61-49f1-93be-076af52cf2e7" providerId="AD" clId="Web-{B3F5D90B-BC40-3838-A5D5-E535F53FAD3B}" dt="2022-06-06T14:33:39.946" v="654" actId="20577"/>
        <pc:sldMkLst>
          <pc:docMk/>
          <pc:sldMk cId="57432336" sldId="2146846851"/>
        </pc:sldMkLst>
        <pc:spChg chg="mod">
          <ac:chgData name="Casati, Alessio (Nokia - GB)" userId="S::alessio.casati@nokia.com::6f050b0a-bf61-49f1-93be-076af52cf2e7" providerId="AD" clId="Web-{B3F5D90B-BC40-3838-A5D5-E535F53FAD3B}" dt="2022-06-06T14:33:39.946" v="654" actId="20577"/>
          <ac:spMkLst>
            <pc:docMk/>
            <pc:sldMk cId="57432336" sldId="2146846851"/>
            <ac:spMk id="4" creationId="{CD72C33D-DF40-4601-AF02-8DFD5A6EA958}"/>
          </ac:spMkLst>
        </pc:spChg>
      </pc:sldChg>
    </pc:docChg>
  </pc:docChgLst>
  <pc:docChgLst>
    <pc:chgData name="Gupta, Pallab (Nokia - IN/Bangalore)" userId="2373e1e1-8f73-46a5-bf2c-89beccfccabe" providerId="ADAL" clId="{E9CA0A92-82CC-495F-953B-F0295BE664DE}"/>
    <pc:docChg chg="addSld delSld modSld sldOrd">
      <pc:chgData name="Gupta, Pallab (Nokia - IN/Bangalore)" userId="2373e1e1-8f73-46a5-bf2c-89beccfccabe" providerId="ADAL" clId="{E9CA0A92-82CC-495F-953B-F0295BE664DE}" dt="2022-09-08T09:16:46.836" v="7"/>
      <pc:docMkLst>
        <pc:docMk/>
      </pc:docMkLst>
      <pc:sldChg chg="modSp mod">
        <pc:chgData name="Gupta, Pallab (Nokia - IN/Bangalore)" userId="2373e1e1-8f73-46a5-bf2c-89beccfccabe" providerId="ADAL" clId="{E9CA0A92-82CC-495F-953B-F0295BE664DE}" dt="2022-09-08T09:16:46.836" v="7"/>
        <pc:sldMkLst>
          <pc:docMk/>
          <pc:sldMk cId="739015424" sldId="2134805526"/>
        </pc:sldMkLst>
        <pc:spChg chg="mod">
          <ac:chgData name="Gupta, Pallab (Nokia - IN/Bangalore)" userId="2373e1e1-8f73-46a5-bf2c-89beccfccabe" providerId="ADAL" clId="{E9CA0A92-82CC-495F-953B-F0295BE664DE}" dt="2022-09-08T09:16:46.836" v="7"/>
          <ac:spMkLst>
            <pc:docMk/>
            <pc:sldMk cId="739015424" sldId="2134805526"/>
            <ac:spMk id="6" creationId="{2E20DBE3-132B-4E49-9B12-D7A9DE1B1D38}"/>
          </ac:spMkLst>
        </pc:spChg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1432919690" sldId="2134805576"/>
        </pc:sldMkLst>
      </pc:sldChg>
      <pc:sldChg chg="add del ord">
        <pc:chgData name="Gupta, Pallab (Nokia - IN/Bangalore)" userId="2373e1e1-8f73-46a5-bf2c-89beccfccabe" providerId="ADAL" clId="{E9CA0A92-82CC-495F-953B-F0295BE664DE}" dt="2022-09-08T09:14:10.309" v="5"/>
        <pc:sldMkLst>
          <pc:docMk/>
          <pc:sldMk cId="2662172997" sldId="2134805578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3593904960" sldId="2146846802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2890166730" sldId="2146846853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2908247285" sldId="2146846857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918522189" sldId="2146846859"/>
        </pc:sldMkLst>
      </pc:sldChg>
      <pc:sldChg chg="add del ord">
        <pc:chgData name="Gupta, Pallab (Nokia - IN/Bangalore)" userId="2373e1e1-8f73-46a5-bf2c-89beccfccabe" providerId="ADAL" clId="{E9CA0A92-82CC-495F-953B-F0295BE664DE}" dt="2022-09-08T09:14:10.309" v="5"/>
        <pc:sldMkLst>
          <pc:docMk/>
          <pc:sldMk cId="1400646624" sldId="2146846861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4245832010" sldId="2146846863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3958497071" sldId="2146846868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2622373010" sldId="2146846869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145295764" sldId="2146846870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569534205" sldId="2146846937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3296134321" sldId="2146846938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2278791807" sldId="2146846939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2436223375" sldId="2146846940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2748087860" sldId="2146846941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2478555574" sldId="2146846942"/>
        </pc:sldMkLst>
      </pc:sldChg>
      <pc:sldChg chg="add del">
        <pc:chgData name="Gupta, Pallab (Nokia - IN/Bangalore)" userId="2373e1e1-8f73-46a5-bf2c-89beccfccabe" providerId="ADAL" clId="{E9CA0A92-82CC-495F-953B-F0295BE664DE}" dt="2022-09-08T09:13:30.274" v="3"/>
        <pc:sldMkLst>
          <pc:docMk/>
          <pc:sldMk cId="3887969581" sldId="2146846943"/>
        </pc:sldMkLst>
      </pc:sldChg>
      <pc:sldMasterChg chg="delSldLayout">
        <pc:chgData name="Gupta, Pallab (Nokia - IN/Bangalore)" userId="2373e1e1-8f73-46a5-bf2c-89beccfccabe" providerId="ADAL" clId="{E9CA0A92-82CC-495F-953B-F0295BE664DE}" dt="2022-09-08T09:12:57.702" v="0" actId="47"/>
        <pc:sldMasterMkLst>
          <pc:docMk/>
          <pc:sldMasterMk cId="4241891639" sldId="2147483650"/>
        </pc:sldMasterMkLst>
        <pc:sldLayoutChg chg="del">
          <pc:chgData name="Gupta, Pallab (Nokia - IN/Bangalore)" userId="2373e1e1-8f73-46a5-bf2c-89beccfccabe" providerId="ADAL" clId="{E9CA0A92-82CC-495F-953B-F0295BE664DE}" dt="2022-09-08T09:12:57.702" v="0" actId="47"/>
          <pc:sldLayoutMkLst>
            <pc:docMk/>
            <pc:sldMasterMk cId="4241891639" sldId="2147483650"/>
            <pc:sldLayoutMk cId="3857897750" sldId="2147483877"/>
          </pc:sldLayoutMkLst>
        </pc:sldLayoutChg>
      </pc:sldMasterChg>
    </pc:docChg>
  </pc:docChgLst>
  <pc:docChgLst>
    <pc:chgData name="Lair, Yannick (Nokia - FR/Paris-Saclay)" userId="S::yannick.lair@nokia.com::e0601b81-de45-4b0d-b7c3-b06e9080ce2c" providerId="AD" clId="Web-{E5C574DC-E85A-3E91-3564-6C2383C1D7D4}"/>
    <pc:docChg chg="modSld">
      <pc:chgData name="Lair, Yannick (Nokia - FR/Paris-Saclay)" userId="S::yannick.lair@nokia.com::e0601b81-de45-4b0d-b7c3-b06e9080ce2c" providerId="AD" clId="Web-{E5C574DC-E85A-3E91-3564-6C2383C1D7D4}" dt="2020-03-05T17:46:33.324" v="3" actId="20577"/>
      <pc:docMkLst>
        <pc:docMk/>
      </pc:docMkLst>
      <pc:sldChg chg="modSp">
        <pc:chgData name="Lair, Yannick (Nokia - FR/Paris-Saclay)" userId="S::yannick.lair@nokia.com::e0601b81-de45-4b0d-b7c3-b06e9080ce2c" providerId="AD" clId="Web-{E5C574DC-E85A-3E91-3564-6C2383C1D7D4}" dt="2020-03-05T17:46:33.324" v="2" actId="20577"/>
        <pc:sldMkLst>
          <pc:docMk/>
          <pc:sldMk cId="2244628399" sldId="285"/>
        </pc:sldMkLst>
        <pc:spChg chg="mod">
          <ac:chgData name="Lair, Yannick (Nokia - FR/Paris-Saclay)" userId="S::yannick.lair@nokia.com::e0601b81-de45-4b0d-b7c3-b06e9080ce2c" providerId="AD" clId="Web-{E5C574DC-E85A-3E91-3564-6C2383C1D7D4}" dt="2020-03-05T17:46:33.324" v="2" actId="20577"/>
          <ac:spMkLst>
            <pc:docMk/>
            <pc:sldMk cId="2244628399" sldId="285"/>
            <ac:spMk id="5" creationId="{A560F786-3A6C-41F0-99EF-DFF4DE7F777C}"/>
          </ac:spMkLst>
        </pc:spChg>
      </pc:sldChg>
    </pc:docChg>
  </pc:docChgLst>
  <pc:docChgLst>
    <pc:chgData name="Dongjoo Kim (Nokia)" userId="0d370802-fa40-41da-9e63-3b740686fe4e" providerId="ADAL" clId="{B71C7EB4-5E87-F244-A228-362556BA8B83}"/>
    <pc:docChg chg="undo custSel addSld delSld modSld">
      <pc:chgData name="Dongjoo Kim (Nokia)" userId="0d370802-fa40-41da-9e63-3b740686fe4e" providerId="ADAL" clId="{B71C7EB4-5E87-F244-A228-362556BA8B83}" dt="2023-03-06T12:03:11.303" v="112" actId="27636"/>
      <pc:docMkLst>
        <pc:docMk/>
      </pc:docMkLst>
      <pc:sldChg chg="del">
        <pc:chgData name="Dongjoo Kim (Nokia)" userId="0d370802-fa40-41da-9e63-3b740686fe4e" providerId="ADAL" clId="{B71C7EB4-5E87-F244-A228-362556BA8B83}" dt="2023-03-03T06:06:26.095" v="3" actId="2696"/>
        <pc:sldMkLst>
          <pc:docMk/>
          <pc:sldMk cId="2969031349" sldId="2134805584"/>
        </pc:sldMkLst>
      </pc:sldChg>
      <pc:sldChg chg="del">
        <pc:chgData name="Dongjoo Kim (Nokia)" userId="0d370802-fa40-41da-9e63-3b740686fe4e" providerId="ADAL" clId="{B71C7EB4-5E87-F244-A228-362556BA8B83}" dt="2023-03-03T06:13:28.672" v="5" actId="2696"/>
        <pc:sldMkLst>
          <pc:docMk/>
          <pc:sldMk cId="931407385" sldId="2134805677"/>
        </pc:sldMkLst>
      </pc:sldChg>
      <pc:sldChg chg="modSp del mod">
        <pc:chgData name="Dongjoo Kim (Nokia)" userId="0d370802-fa40-41da-9e63-3b740686fe4e" providerId="ADAL" clId="{B71C7EB4-5E87-F244-A228-362556BA8B83}" dt="2023-03-03T06:13:34.692" v="6" actId="2696"/>
        <pc:sldMkLst>
          <pc:docMk/>
          <pc:sldMk cId="990824371" sldId="2134805685"/>
        </pc:sldMkLst>
        <pc:spChg chg="mod">
          <ac:chgData name="Dongjoo Kim (Nokia)" userId="0d370802-fa40-41da-9e63-3b740686fe4e" providerId="ADAL" clId="{B71C7EB4-5E87-F244-A228-362556BA8B83}" dt="2023-03-03T06:06:23.974" v="2" actId="27636"/>
          <ac:spMkLst>
            <pc:docMk/>
            <pc:sldMk cId="990824371" sldId="2134805685"/>
            <ac:spMk id="4" creationId="{CD72C33D-DF40-4601-AF02-8DFD5A6EA958}"/>
          </ac:spMkLst>
        </pc:spChg>
      </pc:sldChg>
      <pc:sldChg chg="del">
        <pc:chgData name="Dongjoo Kim (Nokia)" userId="0d370802-fa40-41da-9e63-3b740686fe4e" providerId="ADAL" clId="{B71C7EB4-5E87-F244-A228-362556BA8B83}" dt="2023-03-03T06:13:36.148" v="7" actId="2696"/>
        <pc:sldMkLst>
          <pc:docMk/>
          <pc:sldMk cId="614545562" sldId="2134805686"/>
        </pc:sldMkLst>
      </pc:sldChg>
      <pc:sldChg chg="modSp mod">
        <pc:chgData name="Dongjoo Kim (Nokia)" userId="0d370802-fa40-41da-9e63-3b740686fe4e" providerId="ADAL" clId="{B71C7EB4-5E87-F244-A228-362556BA8B83}" dt="2023-03-06T12:03:10.859" v="110" actId="27636"/>
        <pc:sldMkLst>
          <pc:docMk/>
          <pc:sldMk cId="3297987572" sldId="2146846970"/>
        </pc:sldMkLst>
        <pc:spChg chg="mod">
          <ac:chgData name="Dongjoo Kim (Nokia)" userId="0d370802-fa40-41da-9e63-3b740686fe4e" providerId="ADAL" clId="{B71C7EB4-5E87-F244-A228-362556BA8B83}" dt="2023-03-06T12:03:10.859" v="110" actId="27636"/>
          <ac:spMkLst>
            <pc:docMk/>
            <pc:sldMk cId="3297987572" sldId="2146846970"/>
            <ac:spMk id="4" creationId="{FD9B9349-5219-4A4E-8125-7E6F849D4C07}"/>
          </ac:spMkLst>
        </pc:spChg>
      </pc:sldChg>
      <pc:sldChg chg="modSp mod">
        <pc:chgData name="Dongjoo Kim (Nokia)" userId="0d370802-fa40-41da-9e63-3b740686fe4e" providerId="ADAL" clId="{B71C7EB4-5E87-F244-A228-362556BA8B83}" dt="2023-03-06T08:28:19.431" v="10" actId="27636"/>
        <pc:sldMkLst>
          <pc:docMk/>
          <pc:sldMk cId="4193739587" sldId="2146846982"/>
        </pc:sldMkLst>
        <pc:spChg chg="mod">
          <ac:chgData name="Dongjoo Kim (Nokia)" userId="0d370802-fa40-41da-9e63-3b740686fe4e" providerId="ADAL" clId="{B71C7EB4-5E87-F244-A228-362556BA8B83}" dt="2023-03-06T08:28:19.431" v="10" actId="27636"/>
          <ac:spMkLst>
            <pc:docMk/>
            <pc:sldMk cId="4193739587" sldId="2146846982"/>
            <ac:spMk id="4" creationId="{ECE3DDB3-0401-4826-911D-DA2C7E4F7492}"/>
          </ac:spMkLst>
        </pc:spChg>
      </pc:sldChg>
      <pc:sldChg chg="modSp add mod">
        <pc:chgData name="Dongjoo Kim (Nokia)" userId="0d370802-fa40-41da-9e63-3b740686fe4e" providerId="ADAL" clId="{B71C7EB4-5E87-F244-A228-362556BA8B83}" dt="2023-03-06T11:46:12.303" v="109" actId="20577"/>
        <pc:sldMkLst>
          <pc:docMk/>
          <pc:sldMk cId="968299826" sldId="2146847012"/>
        </pc:sldMkLst>
        <pc:spChg chg="mod">
          <ac:chgData name="Dongjoo Kim (Nokia)" userId="0d370802-fa40-41da-9e63-3b740686fe4e" providerId="ADAL" clId="{B71C7EB4-5E87-F244-A228-362556BA8B83}" dt="2023-03-06T11:46:12.303" v="109" actId="20577"/>
          <ac:spMkLst>
            <pc:docMk/>
            <pc:sldMk cId="968299826" sldId="2146847012"/>
            <ac:spMk id="4" creationId="{CD72C33D-DF40-4601-AF02-8DFD5A6EA958}"/>
          </ac:spMkLst>
        </pc:spChg>
      </pc:sldChg>
      <pc:sldChg chg="modSp add mod">
        <pc:chgData name="Dongjoo Kim (Nokia)" userId="0d370802-fa40-41da-9e63-3b740686fe4e" providerId="ADAL" clId="{B71C7EB4-5E87-F244-A228-362556BA8B83}" dt="2023-03-06T12:03:11.303" v="112" actId="27636"/>
        <pc:sldMkLst>
          <pc:docMk/>
          <pc:sldMk cId="424991875" sldId="2146847013"/>
        </pc:sldMkLst>
        <pc:spChg chg="mod">
          <ac:chgData name="Dongjoo Kim (Nokia)" userId="0d370802-fa40-41da-9e63-3b740686fe4e" providerId="ADAL" clId="{B71C7EB4-5E87-F244-A228-362556BA8B83}" dt="2023-03-06T12:03:11.303" v="112" actId="27636"/>
          <ac:spMkLst>
            <pc:docMk/>
            <pc:sldMk cId="424991875" sldId="2146847013"/>
            <ac:spMk id="4" creationId="{CD72C33D-DF40-4601-AF02-8DFD5A6EA958}"/>
          </ac:spMkLst>
        </pc:spChg>
      </pc:sldChg>
      <pc:sldChg chg="modSp add mod">
        <pc:chgData name="Dongjoo Kim (Nokia)" userId="0d370802-fa40-41da-9e63-3b740686fe4e" providerId="ADAL" clId="{B71C7EB4-5E87-F244-A228-362556BA8B83}" dt="2023-03-06T08:29:54.842" v="100" actId="20577"/>
        <pc:sldMkLst>
          <pc:docMk/>
          <pc:sldMk cId="2527299249" sldId="2146847014"/>
        </pc:sldMkLst>
        <pc:spChg chg="mod">
          <ac:chgData name="Dongjoo Kim (Nokia)" userId="0d370802-fa40-41da-9e63-3b740686fe4e" providerId="ADAL" clId="{B71C7EB4-5E87-F244-A228-362556BA8B83}" dt="2023-03-06T08:29:54.842" v="100" actId="20577"/>
          <ac:spMkLst>
            <pc:docMk/>
            <pc:sldMk cId="2527299249" sldId="2146847014"/>
            <ac:spMk id="4" creationId="{CD72C33D-DF40-4601-AF02-8DFD5A6EA958}"/>
          </ac:spMkLst>
        </pc:spChg>
      </pc:sldChg>
      <pc:sldChg chg="add del">
        <pc:chgData name="Dongjoo Kim (Nokia)" userId="0d370802-fa40-41da-9e63-3b740686fe4e" providerId="ADAL" clId="{B71C7EB4-5E87-F244-A228-362556BA8B83}" dt="2023-03-03T06:14:43.434" v="8" actId="2696"/>
        <pc:sldMkLst>
          <pc:docMk/>
          <pc:sldMk cId="1182058504" sldId="2146847015"/>
        </pc:sldMkLst>
      </pc:sldChg>
      <pc:sldChg chg="add">
        <pc:chgData name="Dongjoo Kim (Nokia)" userId="0d370802-fa40-41da-9e63-3b740686fe4e" providerId="ADAL" clId="{B71C7EB4-5E87-F244-A228-362556BA8B83}" dt="2023-03-03T06:13:25.230" v="4"/>
        <pc:sldMkLst>
          <pc:docMk/>
          <pc:sldMk cId="2246397476" sldId="2146847016"/>
        </pc:sldMkLst>
      </pc:sldChg>
      <pc:sldChg chg="modSp mod">
        <pc:chgData name="Dongjoo Kim (Nokia)" userId="0d370802-fa40-41da-9e63-3b740686fe4e" providerId="ADAL" clId="{B71C7EB4-5E87-F244-A228-362556BA8B83}" dt="2023-03-06T12:03:11.008" v="111" actId="27636"/>
        <pc:sldMkLst>
          <pc:docMk/>
          <pc:sldMk cId="1468079078" sldId="2146847018"/>
        </pc:sldMkLst>
        <pc:spChg chg="mod">
          <ac:chgData name="Dongjoo Kim (Nokia)" userId="0d370802-fa40-41da-9e63-3b740686fe4e" providerId="ADAL" clId="{B71C7EB4-5E87-F244-A228-362556BA8B83}" dt="2023-03-06T12:03:11.008" v="111" actId="27636"/>
          <ac:spMkLst>
            <pc:docMk/>
            <pc:sldMk cId="1468079078" sldId="2146847018"/>
            <ac:spMk id="4" creationId="{D4415F44-DA50-291E-741C-AE4E77343C20}"/>
          </ac:spMkLst>
        </pc:spChg>
      </pc:sldChg>
    </pc:docChg>
  </pc:docChgLst>
  <pc:docChgLst>
    <pc:chgData name="Thiebaut, Laurent (Nokia - FR/Paris-Saclay)" userId="5a0f83ef-4330-4e17-8828-eca8fc03b257" providerId="ADAL" clId="{49C4F6EC-1309-433E-B780-196CFCC8FB68}"/>
    <pc:docChg chg="undo custSel mod addSld delSld modSld sldOrd">
      <pc:chgData name="Thiebaut, Laurent (Nokia - FR/Paris-Saclay)" userId="5a0f83ef-4330-4e17-8828-eca8fc03b257" providerId="ADAL" clId="{49C4F6EC-1309-433E-B780-196CFCC8FB68}" dt="2020-05-04T10:03:58.397" v="187" actId="12"/>
      <pc:docMkLst>
        <pc:docMk/>
      </pc:docMkLst>
      <pc:sldChg chg="addSp modSp ord">
        <pc:chgData name="Thiebaut, Laurent (Nokia - FR/Paris-Saclay)" userId="5a0f83ef-4330-4e17-8828-eca8fc03b257" providerId="ADAL" clId="{49C4F6EC-1309-433E-B780-196CFCC8FB68}" dt="2020-05-04T09:46:34.855" v="13"/>
        <pc:sldMkLst>
          <pc:docMk/>
          <pc:sldMk cId="376794098" sldId="272"/>
        </pc:sldMkLst>
        <pc:spChg chg="mod">
          <ac:chgData name="Thiebaut, Laurent (Nokia - FR/Paris-Saclay)" userId="5a0f83ef-4330-4e17-8828-eca8fc03b257" providerId="ADAL" clId="{49C4F6EC-1309-433E-B780-196CFCC8FB68}" dt="2020-05-04T09:45:40.440" v="12" actId="6549"/>
          <ac:spMkLst>
            <pc:docMk/>
            <pc:sldMk cId="376794098" sldId="272"/>
            <ac:spMk id="5" creationId="{0A813F0E-7224-42E6-A359-B5A9B05FEE7A}"/>
          </ac:spMkLst>
        </pc:spChg>
        <pc:picChg chg="add mod">
          <ac:chgData name="Thiebaut, Laurent (Nokia - FR/Paris-Saclay)" userId="5a0f83ef-4330-4e17-8828-eca8fc03b257" providerId="ADAL" clId="{49C4F6EC-1309-433E-B780-196CFCC8FB68}" dt="2020-05-04T09:44:43.040" v="3" actId="1076"/>
          <ac:picMkLst>
            <pc:docMk/>
            <pc:sldMk cId="376794098" sldId="272"/>
            <ac:picMk id="6" creationId="{9C2ABE22-CA4A-4670-A4C6-25A23C17AEE8}"/>
          </ac:picMkLst>
        </pc:picChg>
      </pc:sldChg>
      <pc:sldChg chg="del">
        <pc:chgData name="Thiebaut, Laurent (Nokia - FR/Paris-Saclay)" userId="5a0f83ef-4330-4e17-8828-eca8fc03b257" providerId="ADAL" clId="{49C4F6EC-1309-433E-B780-196CFCC8FB68}" dt="2020-05-04T09:46:38.413" v="14" actId="2696"/>
        <pc:sldMkLst>
          <pc:docMk/>
          <pc:sldMk cId="2914097150" sldId="273"/>
        </pc:sldMkLst>
      </pc:sldChg>
      <pc:sldChg chg="modSp">
        <pc:chgData name="Thiebaut, Laurent (Nokia - FR/Paris-Saclay)" userId="5a0f83ef-4330-4e17-8828-eca8fc03b257" providerId="ADAL" clId="{49C4F6EC-1309-433E-B780-196CFCC8FB68}" dt="2020-05-04T10:00:54.674" v="145" actId="27636"/>
        <pc:sldMkLst>
          <pc:docMk/>
          <pc:sldMk cId="1074351315" sldId="283"/>
        </pc:sldMkLst>
        <pc:spChg chg="mod">
          <ac:chgData name="Thiebaut, Laurent (Nokia - FR/Paris-Saclay)" userId="5a0f83ef-4330-4e17-8828-eca8fc03b257" providerId="ADAL" clId="{49C4F6EC-1309-433E-B780-196CFCC8FB68}" dt="2020-05-04T10:00:54.674" v="145" actId="27636"/>
          <ac:spMkLst>
            <pc:docMk/>
            <pc:sldMk cId="1074351315" sldId="283"/>
            <ac:spMk id="5" creationId="{A560F786-3A6C-41F0-99EF-DFF4DE7F777C}"/>
          </ac:spMkLst>
        </pc:spChg>
      </pc:sldChg>
      <pc:sldChg chg="modSp">
        <pc:chgData name="Thiebaut, Laurent (Nokia - FR/Paris-Saclay)" userId="5a0f83ef-4330-4e17-8828-eca8fc03b257" providerId="ADAL" clId="{49C4F6EC-1309-433E-B780-196CFCC8FB68}" dt="2020-05-04T09:58:07.739" v="111" actId="12"/>
        <pc:sldMkLst>
          <pc:docMk/>
          <pc:sldMk cId="3687963215" sldId="289"/>
        </pc:sldMkLst>
        <pc:spChg chg="mod">
          <ac:chgData name="Thiebaut, Laurent (Nokia - FR/Paris-Saclay)" userId="5a0f83ef-4330-4e17-8828-eca8fc03b257" providerId="ADAL" clId="{49C4F6EC-1309-433E-B780-196CFCC8FB68}" dt="2020-05-04T09:58:07.739" v="111" actId="12"/>
          <ac:spMkLst>
            <pc:docMk/>
            <pc:sldMk cId="3687963215" sldId="289"/>
            <ac:spMk id="5" creationId="{A560F786-3A6C-41F0-99EF-DFF4DE7F777C}"/>
          </ac:spMkLst>
        </pc:spChg>
      </pc:sldChg>
      <pc:sldChg chg="modSp">
        <pc:chgData name="Thiebaut, Laurent (Nokia - FR/Paris-Saclay)" userId="5a0f83ef-4330-4e17-8828-eca8fc03b257" providerId="ADAL" clId="{49C4F6EC-1309-433E-B780-196CFCC8FB68}" dt="2020-05-04T10:02:12.429" v="147" actId="12"/>
        <pc:sldMkLst>
          <pc:docMk/>
          <pc:sldMk cId="1392594002" sldId="292"/>
        </pc:sldMkLst>
        <pc:spChg chg="mod">
          <ac:chgData name="Thiebaut, Laurent (Nokia - FR/Paris-Saclay)" userId="5a0f83ef-4330-4e17-8828-eca8fc03b257" providerId="ADAL" clId="{49C4F6EC-1309-433E-B780-196CFCC8FB68}" dt="2020-05-04T10:02:12.429" v="147" actId="12"/>
          <ac:spMkLst>
            <pc:docMk/>
            <pc:sldMk cId="1392594002" sldId="292"/>
            <ac:spMk id="5" creationId="{A560F786-3A6C-41F0-99EF-DFF4DE7F777C}"/>
          </ac:spMkLst>
        </pc:spChg>
      </pc:sldChg>
      <pc:sldChg chg="modSp">
        <pc:chgData name="Thiebaut, Laurent (Nokia - FR/Paris-Saclay)" userId="5a0f83ef-4330-4e17-8828-eca8fc03b257" providerId="ADAL" clId="{49C4F6EC-1309-433E-B780-196CFCC8FB68}" dt="2020-05-04T10:03:58.397" v="187" actId="12"/>
        <pc:sldMkLst>
          <pc:docMk/>
          <pc:sldMk cId="142503569" sldId="293"/>
        </pc:sldMkLst>
        <pc:spChg chg="mod">
          <ac:chgData name="Thiebaut, Laurent (Nokia - FR/Paris-Saclay)" userId="5a0f83ef-4330-4e17-8828-eca8fc03b257" providerId="ADAL" clId="{49C4F6EC-1309-433E-B780-196CFCC8FB68}" dt="2020-05-04T10:03:58.397" v="187" actId="12"/>
          <ac:spMkLst>
            <pc:docMk/>
            <pc:sldMk cId="142503569" sldId="293"/>
            <ac:spMk id="5" creationId="{A560F786-3A6C-41F0-99EF-DFF4DE7F777C}"/>
          </ac:spMkLst>
        </pc:spChg>
      </pc:sldChg>
      <pc:sldChg chg="modSp">
        <pc:chgData name="Thiebaut, Laurent (Nokia - FR/Paris-Saclay)" userId="5a0f83ef-4330-4e17-8828-eca8fc03b257" providerId="ADAL" clId="{49C4F6EC-1309-433E-B780-196CFCC8FB68}" dt="2020-05-04T09:47:52.610" v="44" actId="20577"/>
        <pc:sldMkLst>
          <pc:docMk/>
          <pc:sldMk cId="2692745318" sldId="322"/>
        </pc:sldMkLst>
        <pc:spChg chg="mod">
          <ac:chgData name="Thiebaut, Laurent (Nokia - FR/Paris-Saclay)" userId="5a0f83ef-4330-4e17-8828-eca8fc03b257" providerId="ADAL" clId="{49C4F6EC-1309-433E-B780-196CFCC8FB68}" dt="2020-05-04T09:47:52.610" v="44" actId="20577"/>
          <ac:spMkLst>
            <pc:docMk/>
            <pc:sldMk cId="2692745318" sldId="322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49C4F6EC-1309-433E-B780-196CFCC8FB68}" dt="2020-05-04T09:47:43.413" v="29" actId="20577"/>
          <ac:spMkLst>
            <pc:docMk/>
            <pc:sldMk cId="2692745318" sldId="322"/>
            <ac:spMk id="4" creationId="{BDC7D266-0891-4430-9759-534065AEEEF3}"/>
          </ac:spMkLst>
        </pc:spChg>
        <pc:spChg chg="mod">
          <ac:chgData name="Thiebaut, Laurent (Nokia - FR/Paris-Saclay)" userId="5a0f83ef-4330-4e17-8828-eca8fc03b257" providerId="ADAL" clId="{49C4F6EC-1309-433E-B780-196CFCC8FB68}" dt="2020-05-04T09:47:26.689" v="15"/>
          <ac:spMkLst>
            <pc:docMk/>
            <pc:sldMk cId="2692745318" sldId="322"/>
            <ac:spMk id="5" creationId="{A560F786-3A6C-41F0-99EF-DFF4DE7F777C}"/>
          </ac:spMkLst>
        </pc:spChg>
      </pc:sldChg>
      <pc:sldChg chg="modSp">
        <pc:chgData name="Thiebaut, Laurent (Nokia - FR/Paris-Saclay)" userId="5a0f83ef-4330-4e17-8828-eca8fc03b257" providerId="ADAL" clId="{49C4F6EC-1309-433E-B780-196CFCC8FB68}" dt="2020-05-04T10:00:26.321" v="143" actId="20577"/>
        <pc:sldMkLst>
          <pc:docMk/>
          <pc:sldMk cId="4090109033" sldId="334"/>
        </pc:sldMkLst>
        <pc:spChg chg="mod">
          <ac:chgData name="Thiebaut, Laurent (Nokia - FR/Paris-Saclay)" userId="5a0f83ef-4330-4e17-8828-eca8fc03b257" providerId="ADAL" clId="{49C4F6EC-1309-433E-B780-196CFCC8FB68}" dt="2020-05-04T10:00:26.321" v="143" actId="20577"/>
          <ac:spMkLst>
            <pc:docMk/>
            <pc:sldMk cId="4090109033" sldId="334"/>
            <ac:spMk id="5" creationId="{A560F786-3A6C-41F0-99EF-DFF4DE7F777C}"/>
          </ac:spMkLst>
        </pc:spChg>
      </pc:sldChg>
      <pc:sldChg chg="addSp delSp modSp">
        <pc:chgData name="Thiebaut, Laurent (Nokia - FR/Paris-Saclay)" userId="5a0f83ef-4330-4e17-8828-eca8fc03b257" providerId="ADAL" clId="{49C4F6EC-1309-433E-B780-196CFCC8FB68}" dt="2020-05-04T09:50:22.002" v="73" actId="12"/>
        <pc:sldMkLst>
          <pc:docMk/>
          <pc:sldMk cId="1579721114" sldId="336"/>
        </pc:sldMkLst>
        <pc:spChg chg="mod">
          <ac:chgData name="Thiebaut, Laurent (Nokia - FR/Paris-Saclay)" userId="5a0f83ef-4330-4e17-8828-eca8fc03b257" providerId="ADAL" clId="{49C4F6EC-1309-433E-B780-196CFCC8FB68}" dt="2020-05-04T09:49:26.221" v="66"/>
          <ac:spMkLst>
            <pc:docMk/>
            <pc:sldMk cId="1579721114" sldId="336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49C4F6EC-1309-433E-B780-196CFCC8FB68}" dt="2020-05-04T09:48:28.114" v="49" actId="20577"/>
          <ac:spMkLst>
            <pc:docMk/>
            <pc:sldMk cId="1579721114" sldId="336"/>
            <ac:spMk id="4" creationId="{BDC7D266-0891-4430-9759-534065AEEEF3}"/>
          </ac:spMkLst>
        </pc:spChg>
        <pc:spChg chg="mod">
          <ac:chgData name="Thiebaut, Laurent (Nokia - FR/Paris-Saclay)" userId="5a0f83ef-4330-4e17-8828-eca8fc03b257" providerId="ADAL" clId="{49C4F6EC-1309-433E-B780-196CFCC8FB68}" dt="2020-05-04T09:50:22.002" v="73" actId="12"/>
          <ac:spMkLst>
            <pc:docMk/>
            <pc:sldMk cId="1579721114" sldId="336"/>
            <ac:spMk id="5" creationId="{A560F786-3A6C-41F0-99EF-DFF4DE7F777C}"/>
          </ac:spMkLst>
        </pc:spChg>
        <pc:graphicFrameChg chg="add del">
          <ac:chgData name="Thiebaut, Laurent (Nokia - FR/Paris-Saclay)" userId="5a0f83ef-4330-4e17-8828-eca8fc03b257" providerId="ADAL" clId="{49C4F6EC-1309-433E-B780-196CFCC8FB68}" dt="2020-05-04T09:49:42.444" v="68"/>
          <ac:graphicFrameMkLst>
            <pc:docMk/>
            <pc:sldMk cId="1579721114" sldId="336"/>
            <ac:graphicFrameMk id="6" creationId="{299EAC77-3C14-4A16-945D-5FC690809887}"/>
          </ac:graphicFrameMkLst>
        </pc:graphicFrameChg>
      </pc:sldChg>
      <pc:sldChg chg="delSp modSp add ord">
        <pc:chgData name="Thiebaut, Laurent (Nokia - FR/Paris-Saclay)" userId="5a0f83ef-4330-4e17-8828-eca8fc03b257" providerId="ADAL" clId="{49C4F6EC-1309-433E-B780-196CFCC8FB68}" dt="2020-05-04T09:46:34.855" v="13"/>
        <pc:sldMkLst>
          <pc:docMk/>
          <pc:sldMk cId="2416036818" sldId="338"/>
        </pc:sldMkLst>
        <pc:spChg chg="mod">
          <ac:chgData name="Thiebaut, Laurent (Nokia - FR/Paris-Saclay)" userId="5a0f83ef-4330-4e17-8828-eca8fc03b257" providerId="ADAL" clId="{49C4F6EC-1309-433E-B780-196CFCC8FB68}" dt="2020-05-04T09:45:19.877" v="8" actId="14100"/>
          <ac:spMkLst>
            <pc:docMk/>
            <pc:sldMk cId="2416036818" sldId="338"/>
            <ac:spMk id="5" creationId="{0A813F0E-7224-42E6-A359-B5A9B05FEE7A}"/>
          </ac:spMkLst>
        </pc:spChg>
        <pc:picChg chg="del">
          <ac:chgData name="Thiebaut, Laurent (Nokia - FR/Paris-Saclay)" userId="5a0f83ef-4330-4e17-8828-eca8fc03b257" providerId="ADAL" clId="{49C4F6EC-1309-433E-B780-196CFCC8FB68}" dt="2020-05-04T09:45:11.645" v="6" actId="478"/>
          <ac:picMkLst>
            <pc:docMk/>
            <pc:sldMk cId="2416036818" sldId="338"/>
            <ac:picMk id="6" creationId="{9C2ABE22-CA4A-4670-A4C6-25A23C17AEE8}"/>
          </ac:picMkLst>
        </pc:picChg>
      </pc:sldChg>
      <pc:sldChg chg="modSp add ord">
        <pc:chgData name="Thiebaut, Laurent (Nokia - FR/Paris-Saclay)" userId="5a0f83ef-4330-4e17-8828-eca8fc03b257" providerId="ADAL" clId="{49C4F6EC-1309-433E-B780-196CFCC8FB68}" dt="2020-05-04T09:51:16.928" v="80"/>
        <pc:sldMkLst>
          <pc:docMk/>
          <pc:sldMk cId="2548108934" sldId="339"/>
        </pc:sldMkLst>
        <pc:spChg chg="mod">
          <ac:chgData name="Thiebaut, Laurent (Nokia - FR/Paris-Saclay)" userId="5a0f83ef-4330-4e17-8828-eca8fc03b257" providerId="ADAL" clId="{49C4F6EC-1309-433E-B780-196CFCC8FB68}" dt="2020-05-04T09:50:55.910" v="78"/>
          <ac:spMkLst>
            <pc:docMk/>
            <pc:sldMk cId="2548108934" sldId="339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49C4F6EC-1309-433E-B780-196CFCC8FB68}" dt="2020-05-04T09:51:12.610" v="79"/>
          <ac:spMkLst>
            <pc:docMk/>
            <pc:sldMk cId="2548108934" sldId="339"/>
            <ac:spMk id="5" creationId="{A560F786-3A6C-41F0-99EF-DFF4DE7F777C}"/>
          </ac:spMkLst>
        </pc:spChg>
      </pc:sldChg>
      <pc:sldChg chg="modSp add">
        <pc:chgData name="Thiebaut, Laurent (Nokia - FR/Paris-Saclay)" userId="5a0f83ef-4330-4e17-8828-eca8fc03b257" providerId="ADAL" clId="{49C4F6EC-1309-433E-B780-196CFCC8FB68}" dt="2020-05-04T09:52:13.624" v="88" actId="20577"/>
        <pc:sldMkLst>
          <pc:docMk/>
          <pc:sldMk cId="3761434298" sldId="340"/>
        </pc:sldMkLst>
        <pc:spChg chg="mod">
          <ac:chgData name="Thiebaut, Laurent (Nokia - FR/Paris-Saclay)" userId="5a0f83ef-4330-4e17-8828-eca8fc03b257" providerId="ADAL" clId="{49C4F6EC-1309-433E-B780-196CFCC8FB68}" dt="2020-05-04T09:51:52.121" v="84"/>
          <ac:spMkLst>
            <pc:docMk/>
            <pc:sldMk cId="3761434298" sldId="340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49C4F6EC-1309-433E-B780-196CFCC8FB68}" dt="2020-05-04T09:52:13.624" v="88" actId="20577"/>
          <ac:spMkLst>
            <pc:docMk/>
            <pc:sldMk cId="3761434298" sldId="340"/>
            <ac:spMk id="5" creationId="{A560F786-3A6C-41F0-99EF-DFF4DE7F777C}"/>
          </ac:spMkLst>
        </pc:spChg>
      </pc:sldChg>
      <pc:sldChg chg="addSp delSp modSp add mod modClrScheme chgLayout">
        <pc:chgData name="Thiebaut, Laurent (Nokia - FR/Paris-Saclay)" userId="5a0f83ef-4330-4e17-8828-eca8fc03b257" providerId="ADAL" clId="{49C4F6EC-1309-433E-B780-196CFCC8FB68}" dt="2020-05-04T09:57:03.469" v="109" actId="1076"/>
        <pc:sldMkLst>
          <pc:docMk/>
          <pc:sldMk cId="2037566493" sldId="341"/>
        </pc:sldMkLst>
        <pc:spChg chg="mod ord">
          <ac:chgData name="Thiebaut, Laurent (Nokia - FR/Paris-Saclay)" userId="5a0f83ef-4330-4e17-8828-eca8fc03b257" providerId="ADAL" clId="{49C4F6EC-1309-433E-B780-196CFCC8FB68}" dt="2020-05-04T09:55:53.785" v="100" actId="26606"/>
          <ac:spMkLst>
            <pc:docMk/>
            <pc:sldMk cId="2037566493" sldId="341"/>
            <ac:spMk id="2" creationId="{9435687F-1E3B-44A8-AF9B-29A57C3EAC1B}"/>
          </ac:spMkLst>
        </pc:spChg>
        <pc:spChg chg="mod">
          <ac:chgData name="Thiebaut, Laurent (Nokia - FR/Paris-Saclay)" userId="5a0f83ef-4330-4e17-8828-eca8fc03b257" providerId="ADAL" clId="{49C4F6EC-1309-433E-B780-196CFCC8FB68}" dt="2020-05-04T09:55:53.785" v="100" actId="26606"/>
          <ac:spMkLst>
            <pc:docMk/>
            <pc:sldMk cId="2037566493" sldId="341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49C4F6EC-1309-433E-B780-196CFCC8FB68}" dt="2020-05-04T09:55:53.785" v="100" actId="26606"/>
          <ac:spMkLst>
            <pc:docMk/>
            <pc:sldMk cId="2037566493" sldId="341"/>
            <ac:spMk id="4" creationId="{BDC7D266-0891-4430-9759-534065AEEEF3}"/>
          </ac:spMkLst>
        </pc:spChg>
        <pc:spChg chg="add del mod">
          <ac:chgData name="Thiebaut, Laurent (Nokia - FR/Paris-Saclay)" userId="5a0f83ef-4330-4e17-8828-eca8fc03b257" providerId="ADAL" clId="{49C4F6EC-1309-433E-B780-196CFCC8FB68}" dt="2020-05-04T09:55:53.785" v="100" actId="26606"/>
          <ac:spMkLst>
            <pc:docMk/>
            <pc:sldMk cId="2037566493" sldId="341"/>
            <ac:spMk id="5" creationId="{A560F786-3A6C-41F0-99EF-DFF4DE7F777C}"/>
          </ac:spMkLst>
        </pc:spChg>
        <pc:graphicFrameChg chg="add del mod modGraphic">
          <ac:chgData name="Thiebaut, Laurent (Nokia - FR/Paris-Saclay)" userId="5a0f83ef-4330-4e17-8828-eca8fc03b257" providerId="ADAL" clId="{49C4F6EC-1309-433E-B780-196CFCC8FB68}" dt="2020-05-04T09:55:57.824" v="101"/>
          <ac:graphicFrameMkLst>
            <pc:docMk/>
            <pc:sldMk cId="2037566493" sldId="341"/>
            <ac:graphicFrameMk id="6" creationId="{F1D85CDD-FB2E-4481-B91E-E8A44BC5D4CD}"/>
          </ac:graphicFrameMkLst>
        </pc:graphicFrameChg>
        <pc:graphicFrameChg chg="add del mod">
          <ac:chgData name="Thiebaut, Laurent (Nokia - FR/Paris-Saclay)" userId="5a0f83ef-4330-4e17-8828-eca8fc03b257" providerId="ADAL" clId="{49C4F6EC-1309-433E-B780-196CFCC8FB68}" dt="2020-05-04T09:56:33.948" v="105"/>
          <ac:graphicFrameMkLst>
            <pc:docMk/>
            <pc:sldMk cId="2037566493" sldId="341"/>
            <ac:graphicFrameMk id="7" creationId="{E60189BA-803C-4697-86BC-FAAD1254F34D}"/>
          </ac:graphicFrameMkLst>
        </pc:graphicFrameChg>
        <pc:graphicFrameChg chg="add mod">
          <ac:chgData name="Thiebaut, Laurent (Nokia - FR/Paris-Saclay)" userId="5a0f83ef-4330-4e17-8828-eca8fc03b257" providerId="ADAL" clId="{49C4F6EC-1309-433E-B780-196CFCC8FB68}" dt="2020-05-04T09:57:03.469" v="109" actId="1076"/>
          <ac:graphicFrameMkLst>
            <pc:docMk/>
            <pc:sldMk cId="2037566493" sldId="341"/>
            <ac:graphicFrameMk id="8" creationId="{44E06A8D-4A0F-4B11-B891-E56D3403B409}"/>
          </ac:graphicFrameMkLst>
        </pc:graphicFrameChg>
      </pc:sldChg>
    </pc:docChg>
  </pc:docChgLst>
  <pc:docChgLst>
    <pc:chgData name="Georgios Gkellas (Nokia)" userId="14ba2343-2450-4dd7-bb6e-3fde05a409c8" providerId="ADAL" clId="{A91A04FF-9342-49F6-9DA9-3995A72CADC0}"/>
    <pc:docChg chg="custSel addSld modSld">
      <pc:chgData name="Georgios Gkellas (Nokia)" userId="14ba2343-2450-4dd7-bb6e-3fde05a409c8" providerId="ADAL" clId="{A91A04FF-9342-49F6-9DA9-3995A72CADC0}" dt="2023-03-03T19:55:16.487" v="99" actId="27636"/>
      <pc:docMkLst>
        <pc:docMk/>
      </pc:docMkLst>
      <pc:sldChg chg="modSp add mod">
        <pc:chgData name="Georgios Gkellas (Nokia)" userId="14ba2343-2450-4dd7-bb6e-3fde05a409c8" providerId="ADAL" clId="{A91A04FF-9342-49F6-9DA9-3995A72CADC0}" dt="2023-03-03T19:44:00.338" v="12" actId="20577"/>
        <pc:sldMkLst>
          <pc:docMk/>
          <pc:sldMk cId="231888069" sldId="2134805456"/>
        </pc:sldMkLst>
        <pc:spChg chg="mod">
          <ac:chgData name="Georgios Gkellas (Nokia)" userId="14ba2343-2450-4dd7-bb6e-3fde05a409c8" providerId="ADAL" clId="{A91A04FF-9342-49F6-9DA9-3995A72CADC0}" dt="2023-03-03T19:44:00.338" v="12" actId="20577"/>
          <ac:spMkLst>
            <pc:docMk/>
            <pc:sldMk cId="231888069" sldId="2134805456"/>
            <ac:spMk id="10" creationId="{F426E5C8-F5C1-4730-8D5B-949C02046801}"/>
          </ac:spMkLst>
        </pc:spChg>
      </pc:sldChg>
      <pc:sldChg chg="modSp add mod">
        <pc:chgData name="Georgios Gkellas (Nokia)" userId="14ba2343-2450-4dd7-bb6e-3fde05a409c8" providerId="ADAL" clId="{A91A04FF-9342-49F6-9DA9-3995A72CADC0}" dt="2023-03-03T19:44:11.176" v="24" actId="20577"/>
        <pc:sldMkLst>
          <pc:docMk/>
          <pc:sldMk cId="2709855308" sldId="2134805464"/>
        </pc:sldMkLst>
        <pc:spChg chg="mod">
          <ac:chgData name="Georgios Gkellas (Nokia)" userId="14ba2343-2450-4dd7-bb6e-3fde05a409c8" providerId="ADAL" clId="{A91A04FF-9342-49F6-9DA9-3995A72CADC0}" dt="2023-03-03T19:44:11.176" v="24" actId="20577"/>
          <ac:spMkLst>
            <pc:docMk/>
            <pc:sldMk cId="2709855308" sldId="2134805464"/>
            <ac:spMk id="10" creationId="{F426E5C8-F5C1-4730-8D5B-949C02046801}"/>
          </ac:spMkLst>
        </pc:spChg>
      </pc:sldChg>
      <pc:sldChg chg="modSp mod">
        <pc:chgData name="Georgios Gkellas (Nokia)" userId="14ba2343-2450-4dd7-bb6e-3fde05a409c8" providerId="ADAL" clId="{A91A04FF-9342-49F6-9DA9-3995A72CADC0}" dt="2023-03-03T19:55:16.487" v="99" actId="27636"/>
        <pc:sldMkLst>
          <pc:docMk/>
          <pc:sldMk cId="2649463080" sldId="2134805617"/>
        </pc:sldMkLst>
        <pc:spChg chg="mod">
          <ac:chgData name="Georgios Gkellas (Nokia)" userId="14ba2343-2450-4dd7-bb6e-3fde05a409c8" providerId="ADAL" clId="{A91A04FF-9342-49F6-9DA9-3995A72CADC0}" dt="2023-03-03T19:51:43.466" v="40" actId="20577"/>
          <ac:spMkLst>
            <pc:docMk/>
            <pc:sldMk cId="2649463080" sldId="2134805617"/>
            <ac:spMk id="2" creationId="{F70F07A9-7566-47FB-960B-B0CAB30102A8}"/>
          </ac:spMkLst>
        </pc:spChg>
        <pc:spChg chg="mod">
          <ac:chgData name="Georgios Gkellas (Nokia)" userId="14ba2343-2450-4dd7-bb6e-3fde05a409c8" providerId="ADAL" clId="{A91A04FF-9342-49F6-9DA9-3995A72CADC0}" dt="2023-03-03T19:55:16.487" v="99" actId="27636"/>
          <ac:spMkLst>
            <pc:docMk/>
            <pc:sldMk cId="2649463080" sldId="2134805617"/>
            <ac:spMk id="4" creationId="{FD9B9349-5219-4A4E-8125-7E6F849D4C07}"/>
          </ac:spMkLst>
        </pc:spChg>
      </pc:sldChg>
      <pc:sldChg chg="modSp mod">
        <pc:chgData name="Georgios Gkellas (Nokia)" userId="14ba2343-2450-4dd7-bb6e-3fde05a409c8" providerId="ADAL" clId="{A91A04FF-9342-49F6-9DA9-3995A72CADC0}" dt="2023-03-03T19:51:24.040" v="38" actId="6549"/>
        <pc:sldMkLst>
          <pc:docMk/>
          <pc:sldMk cId="1401639605" sldId="2146846972"/>
        </pc:sldMkLst>
        <pc:spChg chg="mod">
          <ac:chgData name="Georgios Gkellas (Nokia)" userId="14ba2343-2450-4dd7-bb6e-3fde05a409c8" providerId="ADAL" clId="{A91A04FF-9342-49F6-9DA9-3995A72CADC0}" dt="2023-03-03T19:51:24.040" v="38" actId="6549"/>
          <ac:spMkLst>
            <pc:docMk/>
            <pc:sldMk cId="1401639605" sldId="2146846972"/>
            <ac:spMk id="4" creationId="{FD9B9349-5219-4A4E-8125-7E6F849D4C07}"/>
          </ac:spMkLst>
        </pc:spChg>
      </pc:sldChg>
    </pc:docChg>
  </pc:docChgLst>
  <pc:docChgLst>
    <pc:chgData name="Kunzmann, Gerald (Nokia - DE/Munich)" userId="378ccc58-fbc2-4cbb-8f9d-6795bc466987" providerId="ADAL" clId="{0FF24A0A-74C3-4542-B145-0FE94930F47D}"/>
    <pc:docChg chg="custSel modSld">
      <pc:chgData name="Kunzmann, Gerald (Nokia - DE/Munich)" userId="378ccc58-fbc2-4cbb-8f9d-6795bc466987" providerId="ADAL" clId="{0FF24A0A-74C3-4542-B145-0FE94930F47D}" dt="2021-04-26T19:22:29.991" v="13" actId="403"/>
      <pc:docMkLst>
        <pc:docMk/>
      </pc:docMkLst>
      <pc:sldChg chg="modSp">
        <pc:chgData name="Kunzmann, Gerald (Nokia - DE/Munich)" userId="378ccc58-fbc2-4cbb-8f9d-6795bc466987" providerId="ADAL" clId="{0FF24A0A-74C3-4542-B145-0FE94930F47D}" dt="2021-04-26T19:22:29.991" v="13" actId="403"/>
        <pc:sldMkLst>
          <pc:docMk/>
          <pc:sldMk cId="1080060686" sldId="2134805415"/>
        </pc:sldMkLst>
        <pc:spChg chg="mod">
          <ac:chgData name="Kunzmann, Gerald (Nokia - DE/Munich)" userId="378ccc58-fbc2-4cbb-8f9d-6795bc466987" providerId="ADAL" clId="{0FF24A0A-74C3-4542-B145-0FE94930F47D}" dt="2021-04-26T19:22:29.991" v="13" actId="403"/>
          <ac:spMkLst>
            <pc:docMk/>
            <pc:sldMk cId="1080060686" sldId="2134805415"/>
            <ac:spMk id="4" creationId="{5C8D5078-B8D0-4095-8466-64F7613FE8A6}"/>
          </ac:spMkLst>
        </pc:spChg>
      </pc:sldChg>
    </pc:docChg>
  </pc:docChgLst>
  <pc:docChgLst>
    <pc:chgData name="Thiebaut, Laurent (Nokia - FR/Paris-Saclay)" userId="S::laurent.thiebaut@nokia.com::5a0f83ef-4330-4e17-8828-eca8fc03b257" providerId="AD" clId="Web-{C116C1D8-24F2-8E2C-CF7E-6DD01E841423}"/>
    <pc:docChg chg="modSld">
      <pc:chgData name="Thiebaut, Laurent (Nokia - FR/Paris-Saclay)" userId="S::laurent.thiebaut@nokia.com::5a0f83ef-4330-4e17-8828-eca8fc03b257" providerId="AD" clId="Web-{C116C1D8-24F2-8E2C-CF7E-6DD01E841423}" dt="2021-04-11T18:34:15.358" v="8" actId="1076"/>
      <pc:docMkLst>
        <pc:docMk/>
      </pc:docMkLst>
      <pc:sldChg chg="modSp">
        <pc:chgData name="Thiebaut, Laurent (Nokia - FR/Paris-Saclay)" userId="S::laurent.thiebaut@nokia.com::5a0f83ef-4330-4e17-8828-eca8fc03b257" providerId="AD" clId="Web-{C116C1D8-24F2-8E2C-CF7E-6DD01E841423}" dt="2021-04-11T18:34:01.607" v="7" actId="20577"/>
        <pc:sldMkLst>
          <pc:docMk/>
          <pc:sldMk cId="2165169509" sldId="258"/>
        </pc:sldMkLst>
        <pc:spChg chg="mod">
          <ac:chgData name="Thiebaut, Laurent (Nokia - FR/Paris-Saclay)" userId="S::laurent.thiebaut@nokia.com::5a0f83ef-4330-4e17-8828-eca8fc03b257" providerId="AD" clId="Web-{C116C1D8-24F2-8E2C-CF7E-6DD01E841423}" dt="2021-04-11T18:33:50.138" v="3" actId="20577"/>
          <ac:spMkLst>
            <pc:docMk/>
            <pc:sldMk cId="2165169509" sldId="258"/>
            <ac:spMk id="2" creationId="{673AE4A4-F521-4B46-BB77-BDFFF6278B02}"/>
          </ac:spMkLst>
        </pc:spChg>
        <pc:spChg chg="mod">
          <ac:chgData name="Thiebaut, Laurent (Nokia - FR/Paris-Saclay)" userId="S::laurent.thiebaut@nokia.com::5a0f83ef-4330-4e17-8828-eca8fc03b257" providerId="AD" clId="Web-{C116C1D8-24F2-8E2C-CF7E-6DD01E841423}" dt="2021-04-11T18:34:01.607" v="7" actId="20577"/>
          <ac:spMkLst>
            <pc:docMk/>
            <pc:sldMk cId="2165169509" sldId="258"/>
            <ac:spMk id="3" creationId="{A4E748F3-52F3-4227-86AD-9C50826A6263}"/>
          </ac:spMkLst>
        </pc:spChg>
      </pc:sldChg>
      <pc:sldChg chg="modSp">
        <pc:chgData name="Thiebaut, Laurent (Nokia - FR/Paris-Saclay)" userId="S::laurent.thiebaut@nokia.com::5a0f83ef-4330-4e17-8828-eca8fc03b257" providerId="AD" clId="Web-{C116C1D8-24F2-8E2C-CF7E-6DD01E841423}" dt="2021-04-11T18:34:15.358" v="8" actId="1076"/>
        <pc:sldMkLst>
          <pc:docMk/>
          <pc:sldMk cId="2233912693" sldId="383"/>
        </pc:sldMkLst>
        <pc:cxnChg chg="mod">
          <ac:chgData name="Thiebaut, Laurent (Nokia - FR/Paris-Saclay)" userId="S::laurent.thiebaut@nokia.com::5a0f83ef-4330-4e17-8828-eca8fc03b257" providerId="AD" clId="Web-{C116C1D8-24F2-8E2C-CF7E-6DD01E841423}" dt="2021-04-11T18:34:15.358" v="8" actId="1076"/>
          <ac:cxnSpMkLst>
            <pc:docMk/>
            <pc:sldMk cId="2233912693" sldId="383"/>
            <ac:cxnSpMk id="8" creationId="{31E383A0-3AB9-455E-8BC1-87201B8E64E5}"/>
          </ac:cxnSpMkLst>
        </pc:cxnChg>
      </pc:sldChg>
    </pc:docChg>
  </pc:docChgLst>
  <pc:docChgLst>
    <pc:chgData name="Belling, Thomas (Nokia - DE/Munich)" userId="38e53bf5-7a59-41ec-8bf1-bf611b810166" providerId="ADAL" clId="{2CD47BF3-ABD8-45FD-8434-598C5D6FC3BD}"/>
    <pc:docChg chg="undo redo custSel addSld delSld modSld">
      <pc:chgData name="Belling, Thomas (Nokia - DE/Munich)" userId="38e53bf5-7a59-41ec-8bf1-bf611b810166" providerId="ADAL" clId="{2CD47BF3-ABD8-45FD-8434-598C5D6FC3BD}" dt="2022-11-28T23:15:05.667" v="135" actId="15"/>
      <pc:docMkLst>
        <pc:docMk/>
      </pc:docMkLst>
      <pc:sldChg chg="modSp mod">
        <pc:chgData name="Belling, Thomas (Nokia - DE/Munich)" userId="38e53bf5-7a59-41ec-8bf1-bf611b810166" providerId="ADAL" clId="{2CD47BF3-ABD8-45FD-8434-598C5D6FC3BD}" dt="2022-11-28T23:10:33.984" v="116" actId="14"/>
        <pc:sldMkLst>
          <pc:docMk/>
          <pc:sldMk cId="765254280" sldId="2146846794"/>
        </pc:sldMkLst>
        <pc:spChg chg="mod">
          <ac:chgData name="Belling, Thomas (Nokia - DE/Munich)" userId="38e53bf5-7a59-41ec-8bf1-bf611b810166" providerId="ADAL" clId="{2CD47BF3-ABD8-45FD-8434-598C5D6FC3BD}" dt="2022-11-28T23:10:33.984" v="116" actId="14"/>
          <ac:spMkLst>
            <pc:docMk/>
            <pc:sldMk cId="765254280" sldId="2146846794"/>
            <ac:spMk id="2" creationId="{828AE646-029C-43F1-BE54-1B04A2DEF02D}"/>
          </ac:spMkLst>
        </pc:spChg>
        <pc:spChg chg="mod">
          <ac:chgData name="Belling, Thomas (Nokia - DE/Munich)" userId="38e53bf5-7a59-41ec-8bf1-bf611b810166" providerId="ADAL" clId="{2CD47BF3-ABD8-45FD-8434-598C5D6FC3BD}" dt="2022-11-28T22:57:28.271" v="19" actId="1076"/>
          <ac:spMkLst>
            <pc:docMk/>
            <pc:sldMk cId="765254280" sldId="2146846794"/>
            <ac:spMk id="3" creationId="{B048C618-39BC-4B3E-A0B8-FE581AEF965F}"/>
          </ac:spMkLst>
        </pc:spChg>
      </pc:sldChg>
      <pc:sldChg chg="modSp mod">
        <pc:chgData name="Belling, Thomas (Nokia - DE/Munich)" userId="38e53bf5-7a59-41ec-8bf1-bf611b810166" providerId="ADAL" clId="{2CD47BF3-ABD8-45FD-8434-598C5D6FC3BD}" dt="2022-11-28T22:56:37.312" v="16" actId="20577"/>
        <pc:sldMkLst>
          <pc:docMk/>
          <pc:sldMk cId="3854435541" sldId="2146846908"/>
        </pc:sldMkLst>
        <pc:spChg chg="mod">
          <ac:chgData name="Belling, Thomas (Nokia - DE/Munich)" userId="38e53bf5-7a59-41ec-8bf1-bf611b810166" providerId="ADAL" clId="{2CD47BF3-ABD8-45FD-8434-598C5D6FC3BD}" dt="2022-11-28T22:56:37.312" v="16" actId="20577"/>
          <ac:spMkLst>
            <pc:docMk/>
            <pc:sldMk cId="3854435541" sldId="2146846908"/>
            <ac:spMk id="2" creationId="{828AE646-029C-43F1-BE54-1B04A2DEF02D}"/>
          </ac:spMkLst>
        </pc:spChg>
      </pc:sldChg>
      <pc:sldChg chg="modSp mod">
        <pc:chgData name="Belling, Thomas (Nokia - DE/Munich)" userId="38e53bf5-7a59-41ec-8bf1-bf611b810166" providerId="ADAL" clId="{2CD47BF3-ABD8-45FD-8434-598C5D6FC3BD}" dt="2022-11-28T23:10:16.963" v="113" actId="12"/>
        <pc:sldMkLst>
          <pc:docMk/>
          <pc:sldMk cId="2363355949" sldId="2146846909"/>
        </pc:sldMkLst>
        <pc:spChg chg="mod">
          <ac:chgData name="Belling, Thomas (Nokia - DE/Munich)" userId="38e53bf5-7a59-41ec-8bf1-bf611b810166" providerId="ADAL" clId="{2CD47BF3-ABD8-45FD-8434-598C5D6FC3BD}" dt="2022-11-28T23:10:16.963" v="113" actId="12"/>
          <ac:spMkLst>
            <pc:docMk/>
            <pc:sldMk cId="2363355949" sldId="2146846909"/>
            <ac:spMk id="2" creationId="{828AE646-029C-43F1-BE54-1B04A2DEF02D}"/>
          </ac:spMkLst>
        </pc:spChg>
      </pc:sldChg>
      <pc:sldChg chg="modSp del mod">
        <pc:chgData name="Belling, Thomas (Nokia - DE/Munich)" userId="38e53bf5-7a59-41ec-8bf1-bf611b810166" providerId="ADAL" clId="{2CD47BF3-ABD8-45FD-8434-598C5D6FC3BD}" dt="2022-11-28T23:13:32.158" v="129" actId="2696"/>
        <pc:sldMkLst>
          <pc:docMk/>
          <pc:sldMk cId="1816928782" sldId="2146846910"/>
        </pc:sldMkLst>
        <pc:spChg chg="mod">
          <ac:chgData name="Belling, Thomas (Nokia - DE/Munich)" userId="38e53bf5-7a59-41ec-8bf1-bf611b810166" providerId="ADAL" clId="{2CD47BF3-ABD8-45FD-8434-598C5D6FC3BD}" dt="2022-11-28T23:09:52.201" v="110" actId="114"/>
          <ac:spMkLst>
            <pc:docMk/>
            <pc:sldMk cId="1816928782" sldId="2146846910"/>
            <ac:spMk id="2" creationId="{828AE646-029C-43F1-BE54-1B04A2DEF02D}"/>
          </ac:spMkLst>
        </pc:spChg>
      </pc:sldChg>
      <pc:sldChg chg="modSp add mod">
        <pc:chgData name="Belling, Thomas (Nokia - DE/Munich)" userId="38e53bf5-7a59-41ec-8bf1-bf611b810166" providerId="ADAL" clId="{2CD47BF3-ABD8-45FD-8434-598C5D6FC3BD}" dt="2022-11-28T23:15:05.667" v="135" actId="15"/>
        <pc:sldMkLst>
          <pc:docMk/>
          <pc:sldMk cId="609310083" sldId="2146846955"/>
        </pc:sldMkLst>
        <pc:spChg chg="mod">
          <ac:chgData name="Belling, Thomas (Nokia - DE/Munich)" userId="38e53bf5-7a59-41ec-8bf1-bf611b810166" providerId="ADAL" clId="{2CD47BF3-ABD8-45FD-8434-598C5D6FC3BD}" dt="2022-11-28T23:15:05.667" v="135" actId="15"/>
          <ac:spMkLst>
            <pc:docMk/>
            <pc:sldMk cId="609310083" sldId="2146846955"/>
            <ac:spMk id="2" creationId="{828AE646-029C-43F1-BE54-1B04A2DEF02D}"/>
          </ac:spMkLst>
        </pc:spChg>
      </pc:sldChg>
    </pc:docChg>
  </pc:docChgLst>
  <pc:docChgLst>
    <pc:chgData name="Chandramouli, Devaki (Nokia - US/Dallas)" userId="ebf2a9f8-651b-4485-926f-9d93c0eafbc5" providerId="ADAL" clId="{B325FE67-D796-4C7F-98C7-2DA4353BA412}"/>
    <pc:docChg chg="custSel addSld modSld">
      <pc:chgData name="Chandramouli, Devaki (Nokia - US/Dallas)" userId="ebf2a9f8-651b-4485-926f-9d93c0eafbc5" providerId="ADAL" clId="{B325FE67-D796-4C7F-98C7-2DA4353BA412}" dt="2020-05-04T19:34:03.442" v="340" actId="478"/>
      <pc:docMkLst>
        <pc:docMk/>
      </pc:docMkLst>
      <pc:sldChg chg="modSp">
        <pc:chgData name="Chandramouli, Devaki (Nokia - US/Dallas)" userId="ebf2a9f8-651b-4485-926f-9d93c0eafbc5" providerId="ADAL" clId="{B325FE67-D796-4C7F-98C7-2DA4353BA412}" dt="2020-05-04T19:23:21.274" v="282" actId="6549"/>
        <pc:sldMkLst>
          <pc:docMk/>
          <pc:sldMk cId="1389723289" sldId="280"/>
        </pc:sldMkLst>
        <pc:spChg chg="mod">
          <ac:chgData name="Chandramouli, Devaki (Nokia - US/Dallas)" userId="ebf2a9f8-651b-4485-926f-9d93c0eafbc5" providerId="ADAL" clId="{B325FE67-D796-4C7F-98C7-2DA4353BA412}" dt="2020-05-04T19:23:21.274" v="282" actId="6549"/>
          <ac:spMkLst>
            <pc:docMk/>
            <pc:sldMk cId="1389723289" sldId="280"/>
            <ac:spMk id="5" creationId="{A560F786-3A6C-41F0-99EF-DFF4DE7F777C}"/>
          </ac:spMkLst>
        </pc:spChg>
      </pc:sldChg>
      <pc:sldChg chg="modSp">
        <pc:chgData name="Chandramouli, Devaki (Nokia - US/Dallas)" userId="ebf2a9f8-651b-4485-926f-9d93c0eafbc5" providerId="ADAL" clId="{B325FE67-D796-4C7F-98C7-2DA4353BA412}" dt="2020-05-04T19:18:58.912" v="5" actId="108"/>
        <pc:sldMkLst>
          <pc:docMk/>
          <pc:sldMk cId="2373054351" sldId="281"/>
        </pc:sldMkLst>
        <pc:spChg chg="mod">
          <ac:chgData name="Chandramouli, Devaki (Nokia - US/Dallas)" userId="ebf2a9f8-651b-4485-926f-9d93c0eafbc5" providerId="ADAL" clId="{B325FE67-D796-4C7F-98C7-2DA4353BA412}" dt="2020-05-04T19:18:58.912" v="5" actId="108"/>
          <ac:spMkLst>
            <pc:docMk/>
            <pc:sldMk cId="2373054351" sldId="281"/>
            <ac:spMk id="5" creationId="{A560F786-3A6C-41F0-99EF-DFF4DE7F777C}"/>
          </ac:spMkLst>
        </pc:spChg>
      </pc:sldChg>
      <pc:sldChg chg="modSp">
        <pc:chgData name="Chandramouli, Devaki (Nokia - US/Dallas)" userId="ebf2a9f8-651b-4485-926f-9d93c0eafbc5" providerId="ADAL" clId="{B325FE67-D796-4C7F-98C7-2DA4353BA412}" dt="2020-05-04T19:19:33.078" v="10" actId="27636"/>
        <pc:sldMkLst>
          <pc:docMk/>
          <pc:sldMk cId="2557244844" sldId="288"/>
        </pc:sldMkLst>
        <pc:spChg chg="mod">
          <ac:chgData name="Chandramouli, Devaki (Nokia - US/Dallas)" userId="ebf2a9f8-651b-4485-926f-9d93c0eafbc5" providerId="ADAL" clId="{B325FE67-D796-4C7F-98C7-2DA4353BA412}" dt="2020-05-04T19:19:33.078" v="10" actId="27636"/>
          <ac:spMkLst>
            <pc:docMk/>
            <pc:sldMk cId="2557244844" sldId="288"/>
            <ac:spMk id="5" creationId="{A560F786-3A6C-41F0-99EF-DFF4DE7F777C}"/>
          </ac:spMkLst>
        </pc:spChg>
      </pc:sldChg>
      <pc:sldChg chg="modSp">
        <pc:chgData name="Chandramouli, Devaki (Nokia - US/Dallas)" userId="ebf2a9f8-651b-4485-926f-9d93c0eafbc5" providerId="ADAL" clId="{B325FE67-D796-4C7F-98C7-2DA4353BA412}" dt="2020-05-04T19:29:38.548" v="335" actId="255"/>
        <pc:sldMkLst>
          <pc:docMk/>
          <pc:sldMk cId="2462381644" sldId="291"/>
        </pc:sldMkLst>
        <pc:spChg chg="mod">
          <ac:chgData name="Chandramouli, Devaki (Nokia - US/Dallas)" userId="ebf2a9f8-651b-4485-926f-9d93c0eafbc5" providerId="ADAL" clId="{B325FE67-D796-4C7F-98C7-2DA4353BA412}" dt="2020-05-04T19:29:38.548" v="335" actId="255"/>
          <ac:spMkLst>
            <pc:docMk/>
            <pc:sldMk cId="2462381644" sldId="291"/>
            <ac:spMk id="5" creationId="{A560F786-3A6C-41F0-99EF-DFF4DE7F777C}"/>
          </ac:spMkLst>
        </pc:spChg>
      </pc:sldChg>
      <pc:sldChg chg="addSp delSp modSp">
        <pc:chgData name="Chandramouli, Devaki (Nokia - US/Dallas)" userId="ebf2a9f8-651b-4485-926f-9d93c0eafbc5" providerId="ADAL" clId="{B325FE67-D796-4C7F-98C7-2DA4353BA412}" dt="2020-05-04T19:27:23.749" v="318" actId="14734"/>
        <pc:sldMkLst>
          <pc:docMk/>
          <pc:sldMk cId="1456803108" sldId="294"/>
        </pc:sldMkLst>
        <pc:spChg chg="mod">
          <ac:chgData name="Chandramouli, Devaki (Nokia - US/Dallas)" userId="ebf2a9f8-651b-4485-926f-9d93c0eafbc5" providerId="ADAL" clId="{B325FE67-D796-4C7F-98C7-2DA4353BA412}" dt="2020-05-04T19:27:02.879" v="314" actId="6549"/>
          <ac:spMkLst>
            <pc:docMk/>
            <pc:sldMk cId="1456803108" sldId="294"/>
            <ac:spMk id="5" creationId="{A560F786-3A6C-41F0-99EF-DFF4DE7F777C}"/>
          </ac:spMkLst>
        </pc:spChg>
        <pc:spChg chg="add del">
          <ac:chgData name="Chandramouli, Devaki (Nokia - US/Dallas)" userId="ebf2a9f8-651b-4485-926f-9d93c0eafbc5" providerId="ADAL" clId="{B325FE67-D796-4C7F-98C7-2DA4353BA412}" dt="2020-05-04T19:26:46.915" v="311" actId="478"/>
          <ac:spMkLst>
            <pc:docMk/>
            <pc:sldMk cId="1456803108" sldId="294"/>
            <ac:spMk id="8" creationId="{23B072EC-8DDE-4BAD-B308-B0A2ECC0B466}"/>
          </ac:spMkLst>
        </pc:spChg>
        <pc:graphicFrameChg chg="add del mod modGraphic">
          <ac:chgData name="Chandramouli, Devaki (Nokia - US/Dallas)" userId="ebf2a9f8-651b-4485-926f-9d93c0eafbc5" providerId="ADAL" clId="{B325FE67-D796-4C7F-98C7-2DA4353BA412}" dt="2020-05-04T19:25:00.732" v="286"/>
          <ac:graphicFrameMkLst>
            <pc:docMk/>
            <pc:sldMk cId="1456803108" sldId="294"/>
            <ac:graphicFrameMk id="6" creationId="{F0E588A8-2D9C-48A0-A17B-EB508D1D5080}"/>
          </ac:graphicFrameMkLst>
        </pc:graphicFrameChg>
        <pc:graphicFrameChg chg="add mod modGraphic">
          <ac:chgData name="Chandramouli, Devaki (Nokia - US/Dallas)" userId="ebf2a9f8-651b-4485-926f-9d93c0eafbc5" providerId="ADAL" clId="{B325FE67-D796-4C7F-98C7-2DA4353BA412}" dt="2020-05-04T19:27:23.749" v="318" actId="14734"/>
          <ac:graphicFrameMkLst>
            <pc:docMk/>
            <pc:sldMk cId="1456803108" sldId="294"/>
            <ac:graphicFrameMk id="7" creationId="{18D17943-EC55-44D5-A66B-0F09A21F3021}"/>
          </ac:graphicFrameMkLst>
        </pc:graphicFrameChg>
      </pc:sldChg>
      <pc:sldChg chg="addSp delSp modSp">
        <pc:chgData name="Chandramouli, Devaki (Nokia - US/Dallas)" userId="ebf2a9f8-651b-4485-926f-9d93c0eafbc5" providerId="ADAL" clId="{B325FE67-D796-4C7F-98C7-2DA4353BA412}" dt="2020-05-04T19:30:17.098" v="339" actId="14100"/>
        <pc:sldMkLst>
          <pc:docMk/>
          <pc:sldMk cId="1968315161" sldId="295"/>
        </pc:sldMkLst>
        <pc:spChg chg="mod">
          <ac:chgData name="Chandramouli, Devaki (Nokia - US/Dallas)" userId="ebf2a9f8-651b-4485-926f-9d93c0eafbc5" providerId="ADAL" clId="{B325FE67-D796-4C7F-98C7-2DA4353BA412}" dt="2020-05-04T19:29:54.451" v="337" actId="108"/>
          <ac:spMkLst>
            <pc:docMk/>
            <pc:sldMk cId="1968315161" sldId="295"/>
            <ac:spMk id="5" creationId="{A560F786-3A6C-41F0-99EF-DFF4DE7F777C}"/>
          </ac:spMkLst>
        </pc:spChg>
        <pc:spChg chg="add del mod">
          <ac:chgData name="Chandramouli, Devaki (Nokia - US/Dallas)" userId="ebf2a9f8-651b-4485-926f-9d93c0eafbc5" providerId="ADAL" clId="{B325FE67-D796-4C7F-98C7-2DA4353BA412}" dt="2020-05-04T19:29:06.230" v="330"/>
          <ac:spMkLst>
            <pc:docMk/>
            <pc:sldMk cId="1968315161" sldId="295"/>
            <ac:spMk id="7" creationId="{5C862EA9-5B11-4E8B-BD17-4D8B1944483E}"/>
          </ac:spMkLst>
        </pc:spChg>
        <pc:graphicFrameChg chg="add mod modGraphic">
          <ac:chgData name="Chandramouli, Devaki (Nokia - US/Dallas)" userId="ebf2a9f8-651b-4485-926f-9d93c0eafbc5" providerId="ADAL" clId="{B325FE67-D796-4C7F-98C7-2DA4353BA412}" dt="2020-05-04T19:30:17.098" v="339" actId="14100"/>
          <ac:graphicFrameMkLst>
            <pc:docMk/>
            <pc:sldMk cId="1968315161" sldId="295"/>
            <ac:graphicFrameMk id="6" creationId="{D43FEEEB-8C6D-4B0B-8265-66A500791083}"/>
          </ac:graphicFrameMkLst>
        </pc:graphicFrameChg>
      </pc:sldChg>
      <pc:sldChg chg="modSp">
        <pc:chgData name="Chandramouli, Devaki (Nokia - US/Dallas)" userId="ebf2a9f8-651b-4485-926f-9d93c0eafbc5" providerId="ADAL" clId="{B325FE67-D796-4C7F-98C7-2DA4353BA412}" dt="2020-05-04T19:29:45.375" v="336" actId="255"/>
        <pc:sldMkLst>
          <pc:docMk/>
          <pc:sldMk cId="3571564102" sldId="333"/>
        </pc:sldMkLst>
        <pc:spChg chg="mod">
          <ac:chgData name="Chandramouli, Devaki (Nokia - US/Dallas)" userId="ebf2a9f8-651b-4485-926f-9d93c0eafbc5" providerId="ADAL" clId="{B325FE67-D796-4C7F-98C7-2DA4353BA412}" dt="2020-05-04T19:29:45.375" v="336" actId="255"/>
          <ac:spMkLst>
            <pc:docMk/>
            <pc:sldMk cId="3571564102" sldId="333"/>
            <ac:spMk id="5" creationId="{A560F786-3A6C-41F0-99EF-DFF4DE7F777C}"/>
          </ac:spMkLst>
        </pc:spChg>
      </pc:sldChg>
      <pc:sldChg chg="delSp">
        <pc:chgData name="Chandramouli, Devaki (Nokia - US/Dallas)" userId="ebf2a9f8-651b-4485-926f-9d93c0eafbc5" providerId="ADAL" clId="{B325FE67-D796-4C7F-98C7-2DA4353BA412}" dt="2020-05-04T19:34:03.442" v="340" actId="478"/>
        <pc:sldMkLst>
          <pc:docMk/>
          <pc:sldMk cId="2037566493" sldId="341"/>
        </pc:sldMkLst>
        <pc:spChg chg="del">
          <ac:chgData name="Chandramouli, Devaki (Nokia - US/Dallas)" userId="ebf2a9f8-651b-4485-926f-9d93c0eafbc5" providerId="ADAL" clId="{B325FE67-D796-4C7F-98C7-2DA4353BA412}" dt="2020-05-04T19:34:03.442" v="340" actId="478"/>
          <ac:spMkLst>
            <pc:docMk/>
            <pc:sldMk cId="2037566493" sldId="341"/>
            <ac:spMk id="5" creationId="{A560F786-3A6C-41F0-99EF-DFF4DE7F777C}"/>
          </ac:spMkLst>
        </pc:spChg>
      </pc:sldChg>
      <pc:sldChg chg="modSp add">
        <pc:chgData name="Chandramouli, Devaki (Nokia - US/Dallas)" userId="ebf2a9f8-651b-4485-926f-9d93c0eafbc5" providerId="ADAL" clId="{B325FE67-D796-4C7F-98C7-2DA4353BA412}" dt="2020-05-04T19:20:44.172" v="146" actId="20577"/>
        <pc:sldMkLst>
          <pc:docMk/>
          <pc:sldMk cId="2879298224" sldId="343"/>
        </pc:sldMkLst>
        <pc:spChg chg="mod">
          <ac:chgData name="Chandramouli, Devaki (Nokia - US/Dallas)" userId="ebf2a9f8-651b-4485-926f-9d93c0eafbc5" providerId="ADAL" clId="{B325FE67-D796-4C7F-98C7-2DA4353BA412}" dt="2020-05-04T19:20:44.172" v="146" actId="20577"/>
          <ac:spMkLst>
            <pc:docMk/>
            <pc:sldMk cId="2879298224" sldId="343"/>
            <ac:spMk id="5" creationId="{A560F786-3A6C-41F0-99EF-DFF4DE7F777C}"/>
          </ac:spMkLst>
        </pc:spChg>
      </pc:sldChg>
    </pc:docChg>
  </pc:docChgLst>
  <pc:docChgLst>
    <pc:chgData name="Thiebaut, Laurent (Nokia - FR/Paris-Saclay)" userId="5a0f83ef-4330-4e17-8828-eca8fc03b257" providerId="ADAL" clId="{0CFCB0F8-B504-41ED-B1B9-08355AA655B2}"/>
    <pc:docChg chg="undo redo custSel addSld modSld modMainMaster">
      <pc:chgData name="Thiebaut, Laurent (Nokia - FR/Paris-Saclay)" userId="5a0f83ef-4330-4e17-8828-eca8fc03b257" providerId="ADAL" clId="{0CFCB0F8-B504-41ED-B1B9-08355AA655B2}" dt="2021-10-26T19:31:14.379" v="593" actId="20577"/>
      <pc:docMkLst>
        <pc:docMk/>
      </pc:docMkLst>
      <pc:sldChg chg="addSp delSp modSp mod">
        <pc:chgData name="Thiebaut, Laurent (Nokia - FR/Paris-Saclay)" userId="5a0f83ef-4330-4e17-8828-eca8fc03b257" providerId="ADAL" clId="{0CFCB0F8-B504-41ED-B1B9-08355AA655B2}" dt="2021-10-26T19:22:40.086" v="249" actId="20577"/>
        <pc:sldMkLst>
          <pc:docMk/>
          <pc:sldMk cId="2692745318" sldId="322"/>
        </pc:sldMkLst>
        <pc:spChg chg="del">
          <ac:chgData name="Thiebaut, Laurent (Nokia - FR/Paris-Saclay)" userId="5a0f83ef-4330-4e17-8828-eca8fc03b257" providerId="ADAL" clId="{0CFCB0F8-B504-41ED-B1B9-08355AA655B2}" dt="2021-10-26T19:10:42.079" v="33" actId="478"/>
          <ac:spMkLst>
            <pc:docMk/>
            <pc:sldMk cId="2692745318" sldId="322"/>
            <ac:spMk id="2" creationId="{9435687F-1E3B-44A8-AF9B-29A57C3EAC1B}"/>
          </ac:spMkLst>
        </pc:spChg>
        <pc:spChg chg="mod">
          <ac:chgData name="Thiebaut, Laurent (Nokia - FR/Paris-Saclay)" userId="5a0f83ef-4330-4e17-8828-eca8fc03b257" providerId="ADAL" clId="{0CFCB0F8-B504-41ED-B1B9-08355AA655B2}" dt="2021-10-26T19:10:58.392" v="111" actId="20577"/>
          <ac:spMkLst>
            <pc:docMk/>
            <pc:sldMk cId="2692745318" sldId="322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0CFCB0F8-B504-41ED-B1B9-08355AA655B2}" dt="2021-10-26T19:11:50.727" v="159" actId="20577"/>
          <ac:spMkLst>
            <pc:docMk/>
            <pc:sldMk cId="2692745318" sldId="322"/>
            <ac:spMk id="4" creationId="{BDC7D266-0891-4430-9759-534065AEEEF3}"/>
          </ac:spMkLst>
        </pc:spChg>
        <pc:spChg chg="mod">
          <ac:chgData name="Thiebaut, Laurent (Nokia - FR/Paris-Saclay)" userId="5a0f83ef-4330-4e17-8828-eca8fc03b257" providerId="ADAL" clId="{0CFCB0F8-B504-41ED-B1B9-08355AA655B2}" dt="2021-10-26T19:21:19.362" v="236" actId="20577"/>
          <ac:spMkLst>
            <pc:docMk/>
            <pc:sldMk cId="2692745318" sldId="322"/>
            <ac:spMk id="5" creationId="{A560F786-3A6C-41F0-99EF-DFF4DE7F777C}"/>
          </ac:spMkLst>
        </pc:spChg>
        <pc:spChg chg="add mod">
          <ac:chgData name="Thiebaut, Laurent (Nokia - FR/Paris-Saclay)" userId="5a0f83ef-4330-4e17-8828-eca8fc03b257" providerId="ADAL" clId="{0CFCB0F8-B504-41ED-B1B9-08355AA655B2}" dt="2021-10-26T19:22:40.086" v="249" actId="20577"/>
          <ac:spMkLst>
            <pc:docMk/>
            <pc:sldMk cId="2692745318" sldId="322"/>
            <ac:spMk id="7" creationId="{A2B20FAB-FADC-412F-B157-F16DDFABBAE7}"/>
          </ac:spMkLst>
        </pc:spChg>
        <pc:graphicFrameChg chg="add del">
          <ac:chgData name="Thiebaut, Laurent (Nokia - FR/Paris-Saclay)" userId="5a0f83ef-4330-4e17-8828-eca8fc03b257" providerId="ADAL" clId="{0CFCB0F8-B504-41ED-B1B9-08355AA655B2}" dt="2021-10-26T19:03:39.522" v="1" actId="3680"/>
          <ac:graphicFrameMkLst>
            <pc:docMk/>
            <pc:sldMk cId="2692745318" sldId="322"/>
            <ac:graphicFrameMk id="6" creationId="{6840245D-AE91-4364-8C45-C8DA8AD8D7D2}"/>
          </ac:graphicFrameMkLst>
        </pc:graphicFrameChg>
      </pc:sldChg>
      <pc:sldChg chg="modSp mod">
        <pc:chgData name="Thiebaut, Laurent (Nokia - FR/Paris-Saclay)" userId="5a0f83ef-4330-4e17-8828-eca8fc03b257" providerId="ADAL" clId="{0CFCB0F8-B504-41ED-B1B9-08355AA655B2}" dt="2021-10-26T19:09:40.395" v="27" actId="27636"/>
        <pc:sldMkLst>
          <pc:docMk/>
          <pc:sldMk cId="1150269751" sldId="2134805525"/>
        </pc:sldMkLst>
        <pc:spChg chg="mod">
          <ac:chgData name="Thiebaut, Laurent (Nokia - FR/Paris-Saclay)" userId="5a0f83ef-4330-4e17-8828-eca8fc03b257" providerId="ADAL" clId="{0CFCB0F8-B504-41ED-B1B9-08355AA655B2}" dt="2021-10-26T19:09:40.395" v="27" actId="27636"/>
          <ac:spMkLst>
            <pc:docMk/>
            <pc:sldMk cId="1150269751" sldId="2134805525"/>
            <ac:spMk id="5" creationId="{A560F786-3A6C-41F0-99EF-DFF4DE7F777C}"/>
          </ac:spMkLst>
        </pc:spChg>
      </pc:sldChg>
      <pc:sldChg chg="modSp add mod">
        <pc:chgData name="Thiebaut, Laurent (Nokia - FR/Paris-Saclay)" userId="5a0f83ef-4330-4e17-8828-eca8fc03b257" providerId="ADAL" clId="{0CFCB0F8-B504-41ED-B1B9-08355AA655B2}" dt="2021-10-26T19:31:14.379" v="593" actId="20577"/>
        <pc:sldMkLst>
          <pc:docMk/>
          <pc:sldMk cId="708047874" sldId="2134805526"/>
        </pc:sldMkLst>
        <pc:spChg chg="mod">
          <ac:chgData name="Thiebaut, Laurent (Nokia - FR/Paris-Saclay)" userId="5a0f83ef-4330-4e17-8828-eca8fc03b257" providerId="ADAL" clId="{0CFCB0F8-B504-41ED-B1B9-08355AA655B2}" dt="2021-10-26T19:24:49.513" v="261" actId="20577"/>
          <ac:spMkLst>
            <pc:docMk/>
            <pc:sldMk cId="708047874" sldId="2134805526"/>
            <ac:spMk id="3" creationId="{5B84A4F0-57DA-4FC9-AEAC-815E3FF90221}"/>
          </ac:spMkLst>
        </pc:spChg>
        <pc:spChg chg="mod">
          <ac:chgData name="Thiebaut, Laurent (Nokia - FR/Paris-Saclay)" userId="5a0f83ef-4330-4e17-8828-eca8fc03b257" providerId="ADAL" clId="{0CFCB0F8-B504-41ED-B1B9-08355AA655B2}" dt="2021-10-26T19:29:55.445" v="535" actId="20577"/>
          <ac:spMkLst>
            <pc:docMk/>
            <pc:sldMk cId="708047874" sldId="2134805526"/>
            <ac:spMk id="5" creationId="{A560F786-3A6C-41F0-99EF-DFF4DE7F777C}"/>
          </ac:spMkLst>
        </pc:spChg>
        <pc:spChg chg="mod">
          <ac:chgData name="Thiebaut, Laurent (Nokia - FR/Paris-Saclay)" userId="5a0f83ef-4330-4e17-8828-eca8fc03b257" providerId="ADAL" clId="{0CFCB0F8-B504-41ED-B1B9-08355AA655B2}" dt="2021-10-26T19:31:14.379" v="593" actId="20577"/>
          <ac:spMkLst>
            <pc:docMk/>
            <pc:sldMk cId="708047874" sldId="2134805526"/>
            <ac:spMk id="7" creationId="{A2B20FAB-FADC-412F-B157-F16DDFABBAE7}"/>
          </ac:spMkLst>
        </pc:spChg>
      </pc:sldChg>
      <pc:sldMasterChg chg="delSp modSp mod">
        <pc:chgData name="Thiebaut, Laurent (Nokia - FR/Paris-Saclay)" userId="5a0f83ef-4330-4e17-8828-eca8fc03b257" providerId="ADAL" clId="{0CFCB0F8-B504-41ED-B1B9-08355AA655B2}" dt="2021-10-26T19:10:28.325" v="32" actId="478"/>
        <pc:sldMasterMkLst>
          <pc:docMk/>
          <pc:sldMasterMk cId="4241891639" sldId="2147483650"/>
        </pc:sldMasterMkLst>
        <pc:spChg chg="del mod">
          <ac:chgData name="Thiebaut, Laurent (Nokia - FR/Paris-Saclay)" userId="5a0f83ef-4330-4e17-8828-eca8fc03b257" providerId="ADAL" clId="{0CFCB0F8-B504-41ED-B1B9-08355AA655B2}" dt="2021-10-26T19:10:28.325" v="32" actId="478"/>
          <ac:spMkLst>
            <pc:docMk/>
            <pc:sldMasterMk cId="4241891639" sldId="2147483650"/>
            <ac:spMk id="15" creationId="{141D57DB-1EB7-4DFA-9100-436A54579F68}"/>
          </ac:spMkLst>
        </pc:spChg>
      </pc:sldMasterChg>
    </pc:docChg>
  </pc:docChgLst>
  <pc:docChgLst>
    <pc:chgData name="Chandramouli, Devaki (Nokia - US/Dallas)" userId="S::devaki.chandramouli@nokia.com::ebf2a9f8-651b-4485-926f-9d93c0eafbc5" providerId="AD" clId="Web-{D9918C89-6F9C-F002-502A-3A8A98233794}"/>
    <pc:docChg chg="modSld">
      <pc:chgData name="Chandramouli, Devaki (Nokia - US/Dallas)" userId="S::devaki.chandramouli@nokia.com::ebf2a9f8-651b-4485-926f-9d93c0eafbc5" providerId="AD" clId="Web-{D9918C89-6F9C-F002-502A-3A8A98233794}" dt="2021-11-30T12:44:34.647" v="3" actId="20577"/>
      <pc:docMkLst>
        <pc:docMk/>
      </pc:docMkLst>
      <pc:sldChg chg="modSp">
        <pc:chgData name="Chandramouli, Devaki (Nokia - US/Dallas)" userId="S::devaki.chandramouli@nokia.com::ebf2a9f8-651b-4485-926f-9d93c0eafbc5" providerId="AD" clId="Web-{D9918C89-6F9C-F002-502A-3A8A98233794}" dt="2021-11-30T12:44:34.647" v="3" actId="20577"/>
        <pc:sldMkLst>
          <pc:docMk/>
          <pc:sldMk cId="1331716574" sldId="2134805580"/>
        </pc:sldMkLst>
        <pc:spChg chg="mod">
          <ac:chgData name="Chandramouli, Devaki (Nokia - US/Dallas)" userId="S::devaki.chandramouli@nokia.com::ebf2a9f8-651b-4485-926f-9d93c0eafbc5" providerId="AD" clId="Web-{D9918C89-6F9C-F002-502A-3A8A98233794}" dt="2021-11-30T12:44:34.647" v="3" actId="20577"/>
          <ac:spMkLst>
            <pc:docMk/>
            <pc:sldMk cId="1331716574" sldId="2134805580"/>
            <ac:spMk id="6" creationId="{2E20DBE3-132B-4E49-9B12-D7A9DE1B1D38}"/>
          </ac:spMkLst>
        </pc:spChg>
      </pc:sldChg>
      <pc:sldChg chg="delSp">
        <pc:chgData name="Chandramouli, Devaki (Nokia - US/Dallas)" userId="S::devaki.chandramouli@nokia.com::ebf2a9f8-651b-4485-926f-9d93c0eafbc5" providerId="AD" clId="Web-{D9918C89-6F9C-F002-502A-3A8A98233794}" dt="2021-11-30T11:57:45.488" v="0"/>
        <pc:sldMkLst>
          <pc:docMk/>
          <pc:sldMk cId="3329606578" sldId="2134805582"/>
        </pc:sldMkLst>
        <pc:spChg chg="del">
          <ac:chgData name="Chandramouli, Devaki (Nokia - US/Dallas)" userId="S::devaki.chandramouli@nokia.com::ebf2a9f8-651b-4485-926f-9d93c0eafbc5" providerId="AD" clId="Web-{D9918C89-6F9C-F002-502A-3A8A98233794}" dt="2021-11-30T11:57:45.488" v="0"/>
          <ac:spMkLst>
            <pc:docMk/>
            <pc:sldMk cId="3329606578" sldId="2134805582"/>
            <ac:spMk id="6" creationId="{ABDD8067-9B33-4DB7-8547-A97D17E32732}"/>
          </ac:spMkLst>
        </pc:spChg>
      </pc:sldChg>
    </pc:docChg>
  </pc:docChgLst>
  <pc:docChgLst>
    <pc:chgData name="Pallab Gupta (Nokia)" userId="2373e1e1-8f73-46a5-bf2c-89beccfccabe" providerId="ADAL" clId="{4A8851F1-69F5-4A93-845C-DB92074D35DE}"/>
    <pc:docChg chg="addSld modSld">
      <pc:chgData name="Pallab Gupta (Nokia)" userId="2373e1e1-8f73-46a5-bf2c-89beccfccabe" providerId="ADAL" clId="{4A8851F1-69F5-4A93-845C-DB92074D35DE}" dt="2022-12-02T04:19:16.108" v="0"/>
      <pc:docMkLst>
        <pc:docMk/>
      </pc:docMkLst>
      <pc:sldChg chg="add">
        <pc:chgData name="Pallab Gupta (Nokia)" userId="2373e1e1-8f73-46a5-bf2c-89beccfccabe" providerId="ADAL" clId="{4A8851F1-69F5-4A93-845C-DB92074D35DE}" dt="2022-12-02T04:19:16.108" v="0"/>
        <pc:sldMkLst>
          <pc:docMk/>
          <pc:sldMk cId="355742821" sldId="2134805558"/>
        </pc:sldMkLst>
      </pc:sldChg>
      <pc:sldChg chg="add">
        <pc:chgData name="Pallab Gupta (Nokia)" userId="2373e1e1-8f73-46a5-bf2c-89beccfccabe" providerId="ADAL" clId="{4A8851F1-69F5-4A93-845C-DB92074D35DE}" dt="2022-12-02T04:19:16.108" v="0"/>
        <pc:sldMkLst>
          <pc:docMk/>
          <pc:sldMk cId="3180949346" sldId="2134805563"/>
        </pc:sldMkLst>
      </pc:sldChg>
    </pc:docChg>
  </pc:docChgLst>
  <pc:docChgLst>
    <pc:chgData name="Laurent Thiebaut (Nokia)" userId="5a0f83ef-4330-4e17-8828-eca8fc03b257" providerId="ADAL" clId="{A1E48FF9-2244-4570-8C54-C79B1B39EA61}"/>
    <pc:docChg chg="undo custSel addSld delSld modSld sldOrd">
      <pc:chgData name="Laurent Thiebaut (Nokia)" userId="5a0f83ef-4330-4e17-8828-eca8fc03b257" providerId="ADAL" clId="{A1E48FF9-2244-4570-8C54-C79B1B39EA61}" dt="2022-12-05T11:24:39.131" v="389"/>
      <pc:docMkLst>
        <pc:docMk/>
      </pc:docMkLst>
      <pc:sldChg chg="add">
        <pc:chgData name="Laurent Thiebaut (Nokia)" userId="5a0f83ef-4330-4e17-8828-eca8fc03b257" providerId="ADAL" clId="{A1E48FF9-2244-4570-8C54-C79B1B39EA61}" dt="2022-12-05T11:24:39.131" v="389"/>
        <pc:sldMkLst>
          <pc:docMk/>
          <pc:sldMk cId="408490920" sldId="319"/>
        </pc:sldMkLst>
      </pc:sldChg>
      <pc:sldChg chg="modSp del mod">
        <pc:chgData name="Laurent Thiebaut (Nokia)" userId="5a0f83ef-4330-4e17-8828-eca8fc03b257" providerId="ADAL" clId="{A1E48FF9-2244-4570-8C54-C79B1B39EA61}" dt="2022-12-05T11:24:22.369" v="388" actId="2696"/>
        <pc:sldMkLst>
          <pc:docMk/>
          <pc:sldMk cId="3870285730" sldId="319"/>
        </pc:sldMkLst>
        <pc:spChg chg="mod">
          <ac:chgData name="Laurent Thiebaut (Nokia)" userId="5a0f83ef-4330-4e17-8828-eca8fc03b257" providerId="ADAL" clId="{A1E48FF9-2244-4570-8C54-C79B1B39EA61}" dt="2022-12-05T11:18:20.451" v="377"/>
          <ac:spMkLst>
            <pc:docMk/>
            <pc:sldMk cId="3870285730" sldId="319"/>
            <ac:spMk id="4" creationId="{B91515A7-343D-47E8-82B8-D58ED83CD3B1}"/>
          </ac:spMkLst>
        </pc:spChg>
      </pc:sldChg>
      <pc:sldChg chg="modSp mod">
        <pc:chgData name="Laurent Thiebaut (Nokia)" userId="5a0f83ef-4330-4e17-8828-eca8fc03b257" providerId="ADAL" clId="{A1E48FF9-2244-4570-8C54-C79B1B39EA61}" dt="2022-12-02T16:31:23.050" v="21" actId="20577"/>
        <pc:sldMkLst>
          <pc:docMk/>
          <pc:sldMk cId="2416036818" sldId="338"/>
        </pc:sldMkLst>
        <pc:spChg chg="mod">
          <ac:chgData name="Laurent Thiebaut (Nokia)" userId="5a0f83ef-4330-4e17-8828-eca8fc03b257" providerId="ADAL" clId="{A1E48FF9-2244-4570-8C54-C79B1B39EA61}" dt="2022-12-02T16:29:27.382" v="17" actId="207"/>
          <ac:spMkLst>
            <pc:docMk/>
            <pc:sldMk cId="2416036818" sldId="338"/>
            <ac:spMk id="3" creationId="{85A38C5A-5EBC-4325-8F64-062DAE1CFEC0}"/>
          </ac:spMkLst>
        </pc:spChg>
        <pc:spChg chg="mod">
          <ac:chgData name="Laurent Thiebaut (Nokia)" userId="5a0f83ef-4330-4e17-8828-eca8fc03b257" providerId="ADAL" clId="{A1E48FF9-2244-4570-8C54-C79B1B39EA61}" dt="2022-12-02T16:28:19.178" v="1"/>
          <ac:spMkLst>
            <pc:docMk/>
            <pc:sldMk cId="2416036818" sldId="338"/>
            <ac:spMk id="4" creationId="{BD612997-8F8D-4939-8023-9B09970813F4}"/>
          </ac:spMkLst>
        </pc:spChg>
        <pc:spChg chg="mod">
          <ac:chgData name="Laurent Thiebaut (Nokia)" userId="5a0f83ef-4330-4e17-8828-eca8fc03b257" providerId="ADAL" clId="{A1E48FF9-2244-4570-8C54-C79B1B39EA61}" dt="2022-12-02T16:31:23.050" v="21" actId="20577"/>
          <ac:spMkLst>
            <pc:docMk/>
            <pc:sldMk cId="2416036818" sldId="338"/>
            <ac:spMk id="5" creationId="{0A813F0E-7224-42E6-A359-B5A9B05FEE7A}"/>
          </ac:spMkLst>
        </pc:spChg>
      </pc:sldChg>
      <pc:sldChg chg="delSp del mod">
        <pc:chgData name="Laurent Thiebaut (Nokia)" userId="5a0f83ef-4330-4e17-8828-eca8fc03b257" providerId="ADAL" clId="{A1E48FF9-2244-4570-8C54-C79B1B39EA61}" dt="2022-12-05T11:18:31.895" v="378" actId="2696"/>
        <pc:sldMkLst>
          <pc:docMk/>
          <pc:sldMk cId="3204802576" sldId="934"/>
        </pc:sldMkLst>
        <pc:spChg chg="del">
          <ac:chgData name="Laurent Thiebaut (Nokia)" userId="5a0f83ef-4330-4e17-8828-eca8fc03b257" providerId="ADAL" clId="{A1E48FF9-2244-4570-8C54-C79B1B39EA61}" dt="2022-12-02T16:33:01.061" v="41" actId="478"/>
          <ac:spMkLst>
            <pc:docMk/>
            <pc:sldMk cId="3204802576" sldId="934"/>
            <ac:spMk id="4" creationId="{9BD6274D-5F53-4AC1-9E9B-B663EDFDC38B}"/>
          </ac:spMkLst>
        </pc:spChg>
      </pc:sldChg>
      <pc:sldChg chg="add">
        <pc:chgData name="Laurent Thiebaut (Nokia)" userId="5a0f83ef-4330-4e17-8828-eca8fc03b257" providerId="ADAL" clId="{A1E48FF9-2244-4570-8C54-C79B1B39EA61}" dt="2022-12-05T11:18:43.189" v="379"/>
        <pc:sldMkLst>
          <pc:docMk/>
          <pc:sldMk cId="3819095842" sldId="934"/>
        </pc:sldMkLst>
      </pc:sldChg>
      <pc:sldChg chg="addSp delSp modSp add mod">
        <pc:chgData name="Laurent Thiebaut (Nokia)" userId="5a0f83ef-4330-4e17-8828-eca8fc03b257" providerId="ADAL" clId="{A1E48FF9-2244-4570-8C54-C79B1B39EA61}" dt="2022-12-05T11:21:55.742" v="384" actId="478"/>
        <pc:sldMkLst>
          <pc:docMk/>
          <pc:sldMk cId="775159258" sldId="2134805356"/>
        </pc:sldMkLst>
        <pc:spChg chg="add del mod">
          <ac:chgData name="Laurent Thiebaut (Nokia)" userId="5a0f83ef-4330-4e17-8828-eca8fc03b257" providerId="ADAL" clId="{A1E48FF9-2244-4570-8C54-C79B1B39EA61}" dt="2022-12-05T11:21:51.767" v="383" actId="478"/>
          <ac:spMkLst>
            <pc:docMk/>
            <pc:sldMk cId="775159258" sldId="2134805356"/>
            <ac:spMk id="3" creationId="{DF47F19C-080F-49AC-ABF3-FE1AEDEDC678}"/>
          </ac:spMkLst>
        </pc:spChg>
        <pc:spChg chg="mod">
          <ac:chgData name="Laurent Thiebaut (Nokia)" userId="5a0f83ef-4330-4e17-8828-eca8fc03b257" providerId="ADAL" clId="{A1E48FF9-2244-4570-8C54-C79B1B39EA61}" dt="2022-12-05T11:21:35.455" v="380"/>
          <ac:spMkLst>
            <pc:docMk/>
            <pc:sldMk cId="775159258" sldId="2134805356"/>
            <ac:spMk id="11" creationId="{3AC8D1F0-8124-4DA6-862F-5170061F6679}"/>
          </ac:spMkLst>
        </pc:spChg>
        <pc:spChg chg="del">
          <ac:chgData name="Laurent Thiebaut (Nokia)" userId="5a0f83ef-4330-4e17-8828-eca8fc03b257" providerId="ADAL" clId="{A1E48FF9-2244-4570-8C54-C79B1B39EA61}" dt="2022-12-05T11:21:55.742" v="384" actId="478"/>
          <ac:spMkLst>
            <pc:docMk/>
            <pc:sldMk cId="775159258" sldId="2134805356"/>
            <ac:spMk id="19" creationId="{C4FBCF5C-3493-44A0-890C-756B3BC807AA}"/>
          </ac:spMkLst>
        </pc:spChg>
        <pc:spChg chg="del mod">
          <ac:chgData name="Laurent Thiebaut (Nokia)" userId="5a0f83ef-4330-4e17-8828-eca8fc03b257" providerId="ADAL" clId="{A1E48FF9-2244-4570-8C54-C79B1B39EA61}" dt="2022-12-05T11:21:42.992" v="382" actId="478"/>
          <ac:spMkLst>
            <pc:docMk/>
            <pc:sldMk cId="775159258" sldId="2134805356"/>
            <ac:spMk id="22" creationId="{AA60D77B-BE8A-4E85-8D33-69053CE77EB7}"/>
          </ac:spMkLst>
        </pc:spChg>
      </pc:sldChg>
      <pc:sldChg chg="modSp mod">
        <pc:chgData name="Laurent Thiebaut (Nokia)" userId="5a0f83ef-4330-4e17-8828-eca8fc03b257" providerId="ADAL" clId="{A1E48FF9-2244-4570-8C54-C79B1B39EA61}" dt="2022-12-02T16:26:53.215" v="0" actId="1076"/>
        <pc:sldMkLst>
          <pc:docMk/>
          <pc:sldMk cId="908993029" sldId="2134805527"/>
        </pc:sldMkLst>
        <pc:cxnChg chg="mod">
          <ac:chgData name="Laurent Thiebaut (Nokia)" userId="5a0f83ef-4330-4e17-8828-eca8fc03b257" providerId="ADAL" clId="{A1E48FF9-2244-4570-8C54-C79B1B39EA61}" dt="2022-12-02T16:26:53.215" v="0" actId="1076"/>
          <ac:cxnSpMkLst>
            <pc:docMk/>
            <pc:sldMk cId="908993029" sldId="2134805527"/>
            <ac:cxnSpMk id="8" creationId="{31E383A0-3AB9-455E-8BC1-87201B8E64E5}"/>
          </ac:cxnSpMkLst>
        </pc:cxnChg>
      </pc:sldChg>
      <pc:sldChg chg="modSp mod">
        <pc:chgData name="Laurent Thiebaut (Nokia)" userId="5a0f83ef-4330-4e17-8828-eca8fc03b257" providerId="ADAL" clId="{A1E48FF9-2244-4570-8C54-C79B1B39EA61}" dt="2022-12-02T17:32:36.456" v="361" actId="6549"/>
        <pc:sldMkLst>
          <pc:docMk/>
          <pc:sldMk cId="4008632245" sldId="2134805565"/>
        </pc:sldMkLst>
        <pc:spChg chg="mod">
          <ac:chgData name="Laurent Thiebaut (Nokia)" userId="5a0f83ef-4330-4e17-8828-eca8fc03b257" providerId="ADAL" clId="{A1E48FF9-2244-4570-8C54-C79B1B39EA61}" dt="2022-12-02T17:32:32.480" v="360" actId="20577"/>
          <ac:spMkLst>
            <pc:docMk/>
            <pc:sldMk cId="4008632245" sldId="2134805565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A1E48FF9-2244-4570-8C54-C79B1B39EA61}" dt="2022-12-02T17:32:36.456" v="361" actId="6549"/>
          <ac:spMkLst>
            <pc:docMk/>
            <pc:sldMk cId="4008632245" sldId="2134805565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A1E48FF9-2244-4570-8C54-C79B1B39EA61}" dt="2022-12-02T17:31:52.430" v="352" actId="27636"/>
          <ac:spMkLst>
            <pc:docMk/>
            <pc:sldMk cId="4008632245" sldId="2134805565"/>
            <ac:spMk id="4" creationId="{CD72C33D-DF40-4601-AF02-8DFD5A6EA958}"/>
          </ac:spMkLst>
        </pc:spChg>
      </pc:sldChg>
      <pc:sldChg chg="modSp">
        <pc:chgData name="Laurent Thiebaut (Nokia)" userId="5a0f83ef-4330-4e17-8828-eca8fc03b257" providerId="ADAL" clId="{A1E48FF9-2244-4570-8C54-C79B1B39EA61}" dt="2022-12-02T16:28:19.178" v="1"/>
        <pc:sldMkLst>
          <pc:docMk/>
          <pc:sldMk cId="1604579669" sldId="2134805582"/>
        </pc:sldMkLst>
        <pc:spChg chg="mod">
          <ac:chgData name="Laurent Thiebaut (Nokia)" userId="5a0f83ef-4330-4e17-8828-eca8fc03b257" providerId="ADAL" clId="{A1E48FF9-2244-4570-8C54-C79B1B39EA61}" dt="2022-12-02T16:28:19.178" v="1"/>
          <ac:spMkLst>
            <pc:docMk/>
            <pc:sldMk cId="1604579669" sldId="2134805582"/>
            <ac:spMk id="6" creationId="{2E20DBE3-132B-4E49-9B12-D7A9DE1B1D38}"/>
          </ac:spMkLst>
        </pc:spChg>
      </pc:sldChg>
      <pc:sldChg chg="modSp mod">
        <pc:chgData name="Laurent Thiebaut (Nokia)" userId="5a0f83ef-4330-4e17-8828-eca8fc03b257" providerId="ADAL" clId="{A1E48FF9-2244-4570-8C54-C79B1B39EA61}" dt="2022-12-02T17:25:25.835" v="250" actId="20577"/>
        <pc:sldMkLst>
          <pc:docMk/>
          <pc:sldMk cId="374592939" sldId="2134805583"/>
        </pc:sldMkLst>
        <pc:spChg chg="mod">
          <ac:chgData name="Laurent Thiebaut (Nokia)" userId="5a0f83ef-4330-4e17-8828-eca8fc03b257" providerId="ADAL" clId="{A1E48FF9-2244-4570-8C54-C79B1B39EA61}" dt="2022-12-02T17:20:58.848" v="75" actId="20577"/>
          <ac:spMkLst>
            <pc:docMk/>
            <pc:sldMk cId="374592939" sldId="2134805583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A1E48FF9-2244-4570-8C54-C79B1B39EA61}" dt="2022-12-02T17:20:50.724" v="73" actId="6549"/>
          <ac:spMkLst>
            <pc:docMk/>
            <pc:sldMk cId="374592939" sldId="2134805583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A1E48FF9-2244-4570-8C54-C79B1B39EA61}" dt="2022-12-02T17:25:25.835" v="250" actId="20577"/>
          <ac:spMkLst>
            <pc:docMk/>
            <pc:sldMk cId="374592939" sldId="2134805583"/>
            <ac:spMk id="4" creationId="{CD72C33D-DF40-4601-AF02-8DFD5A6EA958}"/>
          </ac:spMkLst>
        </pc:spChg>
      </pc:sldChg>
      <pc:sldChg chg="modSp mod">
        <pc:chgData name="Laurent Thiebaut (Nokia)" userId="5a0f83ef-4330-4e17-8828-eca8fc03b257" providerId="ADAL" clId="{A1E48FF9-2244-4570-8C54-C79B1B39EA61}" dt="2022-12-02T17:21:39.346" v="78" actId="20577"/>
        <pc:sldMkLst>
          <pc:docMk/>
          <pc:sldMk cId="2969031349" sldId="2134805584"/>
        </pc:sldMkLst>
        <pc:spChg chg="mod">
          <ac:chgData name="Laurent Thiebaut (Nokia)" userId="5a0f83ef-4330-4e17-8828-eca8fc03b257" providerId="ADAL" clId="{A1E48FF9-2244-4570-8C54-C79B1B39EA61}" dt="2022-12-02T17:21:39.346" v="78" actId="20577"/>
          <ac:spMkLst>
            <pc:docMk/>
            <pc:sldMk cId="2969031349" sldId="2134805584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A1E48FF9-2244-4570-8C54-C79B1B39EA61}" dt="2022-12-02T17:21:13.700" v="76" actId="6549"/>
          <ac:spMkLst>
            <pc:docMk/>
            <pc:sldMk cId="2969031349" sldId="2134805584"/>
            <ac:spMk id="3" creationId="{506A8607-C5AE-48A7-9AC8-7B6F426DD14D}"/>
          </ac:spMkLst>
        </pc:spChg>
      </pc:sldChg>
      <pc:sldChg chg="modSp mod">
        <pc:chgData name="Laurent Thiebaut (Nokia)" userId="5a0f83ef-4330-4e17-8828-eca8fc03b257" providerId="ADAL" clId="{A1E48FF9-2244-4570-8C54-C79B1B39EA61}" dt="2022-12-02T17:26:35.198" v="332" actId="20577"/>
        <pc:sldMkLst>
          <pc:docMk/>
          <pc:sldMk cId="681358297" sldId="2134805587"/>
        </pc:sldMkLst>
        <pc:spChg chg="mod">
          <ac:chgData name="Laurent Thiebaut (Nokia)" userId="5a0f83ef-4330-4e17-8828-eca8fc03b257" providerId="ADAL" clId="{A1E48FF9-2244-4570-8C54-C79B1B39EA61}" dt="2022-12-02T17:26:35.198" v="332" actId="20577"/>
          <ac:spMkLst>
            <pc:docMk/>
            <pc:sldMk cId="681358297" sldId="2134805587"/>
            <ac:spMk id="4" creationId="{CD72C33D-DF40-4601-AF02-8DFD5A6EA958}"/>
          </ac:spMkLst>
        </pc:spChg>
      </pc:sldChg>
      <pc:sldChg chg="ord">
        <pc:chgData name="Laurent Thiebaut (Nokia)" userId="5a0f83ef-4330-4e17-8828-eca8fc03b257" providerId="ADAL" clId="{A1E48FF9-2244-4570-8C54-C79B1B39EA61}" dt="2022-12-02T17:18:22.217" v="61"/>
        <pc:sldMkLst>
          <pc:docMk/>
          <pc:sldMk cId="2867476052" sldId="2134805603"/>
        </pc:sldMkLst>
      </pc:sldChg>
      <pc:sldChg chg="add">
        <pc:chgData name="Laurent Thiebaut (Nokia)" userId="5a0f83ef-4330-4e17-8828-eca8fc03b257" providerId="ADAL" clId="{A1E48FF9-2244-4570-8C54-C79B1B39EA61}" dt="2022-12-05T11:24:39.131" v="389"/>
        <pc:sldMkLst>
          <pc:docMk/>
          <pc:sldMk cId="1579576513" sldId="2134805613"/>
        </pc:sldMkLst>
      </pc:sldChg>
      <pc:sldChg chg="del">
        <pc:chgData name="Laurent Thiebaut (Nokia)" userId="5a0f83ef-4330-4e17-8828-eca8fc03b257" providerId="ADAL" clId="{A1E48FF9-2244-4570-8C54-C79B1B39EA61}" dt="2022-12-05T11:24:22.369" v="388" actId="2696"/>
        <pc:sldMkLst>
          <pc:docMk/>
          <pc:sldMk cId="2394135302" sldId="2134805613"/>
        </pc:sldMkLst>
      </pc:sldChg>
      <pc:sldChg chg="del">
        <pc:chgData name="Laurent Thiebaut (Nokia)" userId="5a0f83ef-4330-4e17-8828-eca8fc03b257" providerId="ADAL" clId="{A1E48FF9-2244-4570-8C54-C79B1B39EA61}" dt="2022-12-05T11:24:22.369" v="388" actId="2696"/>
        <pc:sldMkLst>
          <pc:docMk/>
          <pc:sldMk cId="2009724111" sldId="2134805617"/>
        </pc:sldMkLst>
      </pc:sldChg>
      <pc:sldChg chg="add">
        <pc:chgData name="Laurent Thiebaut (Nokia)" userId="5a0f83ef-4330-4e17-8828-eca8fc03b257" providerId="ADAL" clId="{A1E48FF9-2244-4570-8C54-C79B1B39EA61}" dt="2022-12-05T11:24:39.131" v="389"/>
        <pc:sldMkLst>
          <pc:docMk/>
          <pc:sldMk cId="2649463080" sldId="2134805617"/>
        </pc:sldMkLst>
      </pc:sldChg>
      <pc:sldChg chg="modSp mod ord">
        <pc:chgData name="Laurent Thiebaut (Nokia)" userId="5a0f83ef-4330-4e17-8828-eca8fc03b257" providerId="ADAL" clId="{A1E48FF9-2244-4570-8C54-C79B1B39EA61}" dt="2022-12-02T17:18:57.526" v="63"/>
        <pc:sldMkLst>
          <pc:docMk/>
          <pc:sldMk cId="931407385" sldId="2134805677"/>
        </pc:sldMkLst>
        <pc:spChg chg="mod">
          <ac:chgData name="Laurent Thiebaut (Nokia)" userId="5a0f83ef-4330-4e17-8828-eca8fc03b257" providerId="ADAL" clId="{A1E48FF9-2244-4570-8C54-C79B1B39EA61}" dt="2022-12-02T17:16:51.303" v="51" actId="20577"/>
          <ac:spMkLst>
            <pc:docMk/>
            <pc:sldMk cId="931407385" sldId="2134805677"/>
            <ac:spMk id="3" creationId="{506A8607-C5AE-48A7-9AC8-7B6F426DD14D}"/>
          </ac:spMkLst>
        </pc:spChg>
      </pc:sldChg>
      <pc:sldChg chg="modSp mod ord">
        <pc:chgData name="Laurent Thiebaut (Nokia)" userId="5a0f83ef-4330-4e17-8828-eca8fc03b257" providerId="ADAL" clId="{A1E48FF9-2244-4570-8C54-C79B1B39EA61}" dt="2022-12-05T11:15:13.734" v="372" actId="27636"/>
        <pc:sldMkLst>
          <pc:docMk/>
          <pc:sldMk cId="990824371" sldId="2134805685"/>
        </pc:sldMkLst>
        <pc:spChg chg="mod">
          <ac:chgData name="Laurent Thiebaut (Nokia)" userId="5a0f83ef-4330-4e17-8828-eca8fc03b257" providerId="ADAL" clId="{A1E48FF9-2244-4570-8C54-C79B1B39EA61}" dt="2022-12-02T17:17:09.248" v="53" actId="1076"/>
          <ac:spMkLst>
            <pc:docMk/>
            <pc:sldMk cId="990824371" sldId="2134805685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A1E48FF9-2244-4570-8C54-C79B1B39EA61}" dt="2022-12-05T11:15:13.734" v="372" actId="27636"/>
          <ac:spMkLst>
            <pc:docMk/>
            <pc:sldMk cId="990824371" sldId="2134805685"/>
            <ac:spMk id="4" creationId="{CD72C33D-DF40-4601-AF02-8DFD5A6EA958}"/>
          </ac:spMkLst>
        </pc:spChg>
      </pc:sldChg>
      <pc:sldChg chg="modSp mod ord">
        <pc:chgData name="Laurent Thiebaut (Nokia)" userId="5a0f83ef-4330-4e17-8828-eca8fc03b257" providerId="ADAL" clId="{A1E48FF9-2244-4570-8C54-C79B1B39EA61}" dt="2022-12-02T17:18:57.526" v="63"/>
        <pc:sldMkLst>
          <pc:docMk/>
          <pc:sldMk cId="614545562" sldId="2134805686"/>
        </pc:sldMkLst>
        <pc:spChg chg="mod">
          <ac:chgData name="Laurent Thiebaut (Nokia)" userId="5a0f83ef-4330-4e17-8828-eca8fc03b257" providerId="ADAL" clId="{A1E48FF9-2244-4570-8C54-C79B1B39EA61}" dt="2022-12-02T17:17:17.829" v="55"/>
          <ac:spMkLst>
            <pc:docMk/>
            <pc:sldMk cId="614545562" sldId="2134805686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A1E48FF9-2244-4570-8C54-C79B1B39EA61}" dt="2022-12-02T17:17:22.421" v="56" actId="1076"/>
          <ac:spMkLst>
            <pc:docMk/>
            <pc:sldMk cId="614545562" sldId="2134805686"/>
            <ac:spMk id="4" creationId="{CD72C33D-DF40-4601-AF02-8DFD5A6EA958}"/>
          </ac:spMkLst>
        </pc:spChg>
      </pc:sldChg>
      <pc:sldChg chg="modSp mod">
        <pc:chgData name="Laurent Thiebaut (Nokia)" userId="5a0f83ef-4330-4e17-8828-eca8fc03b257" providerId="ADAL" clId="{A1E48FF9-2244-4570-8C54-C79B1B39EA61}" dt="2022-12-02T17:26:55.720" v="334" actId="27636"/>
        <pc:sldMkLst>
          <pc:docMk/>
          <pc:sldMk cId="3808526133" sldId="2146846805"/>
        </pc:sldMkLst>
        <pc:spChg chg="mod">
          <ac:chgData name="Laurent Thiebaut (Nokia)" userId="5a0f83ef-4330-4e17-8828-eca8fc03b257" providerId="ADAL" clId="{A1E48FF9-2244-4570-8C54-C79B1B39EA61}" dt="2022-12-02T17:26:55.720" v="334" actId="27636"/>
          <ac:spMkLst>
            <pc:docMk/>
            <pc:sldMk cId="3808526133" sldId="2146846805"/>
            <ac:spMk id="4" creationId="{EE8F8129-6DFE-4C88-8770-3B754B94D0F9}"/>
          </ac:spMkLst>
        </pc:spChg>
      </pc:sldChg>
      <pc:sldChg chg="modSp mod">
        <pc:chgData name="Laurent Thiebaut (Nokia)" userId="5a0f83ef-4330-4e17-8828-eca8fc03b257" providerId="ADAL" clId="{A1E48FF9-2244-4570-8C54-C79B1B39EA61}" dt="2022-12-02T17:23:14.148" v="138" actId="6549"/>
        <pc:sldMkLst>
          <pc:docMk/>
          <pc:sldMk cId="494238848" sldId="2146846814"/>
        </pc:sldMkLst>
        <pc:spChg chg="mod">
          <ac:chgData name="Laurent Thiebaut (Nokia)" userId="5a0f83ef-4330-4e17-8828-eca8fc03b257" providerId="ADAL" clId="{A1E48FF9-2244-4570-8C54-C79B1B39EA61}" dt="2022-12-02T17:23:14.148" v="138" actId="6549"/>
          <ac:spMkLst>
            <pc:docMk/>
            <pc:sldMk cId="494238848" sldId="2146846814"/>
            <ac:spMk id="4" creationId="{CD72C33D-DF40-4601-AF02-8DFD5A6EA958}"/>
          </ac:spMkLst>
        </pc:spChg>
      </pc:sldChg>
      <pc:sldChg chg="ord">
        <pc:chgData name="Laurent Thiebaut (Nokia)" userId="5a0f83ef-4330-4e17-8828-eca8fc03b257" providerId="ADAL" clId="{A1E48FF9-2244-4570-8C54-C79B1B39EA61}" dt="2022-12-02T17:18:22.217" v="61"/>
        <pc:sldMkLst>
          <pc:docMk/>
          <pc:sldMk cId="1762226801" sldId="2146846817"/>
        </pc:sldMkLst>
      </pc:sldChg>
      <pc:sldChg chg="ord">
        <pc:chgData name="Laurent Thiebaut (Nokia)" userId="5a0f83ef-4330-4e17-8828-eca8fc03b257" providerId="ADAL" clId="{A1E48FF9-2244-4570-8C54-C79B1B39EA61}" dt="2022-12-02T17:18:22.217" v="61"/>
        <pc:sldMkLst>
          <pc:docMk/>
          <pc:sldMk cId="1638951385" sldId="2146846818"/>
        </pc:sldMkLst>
      </pc:sldChg>
      <pc:sldChg chg="ord">
        <pc:chgData name="Laurent Thiebaut (Nokia)" userId="5a0f83ef-4330-4e17-8828-eca8fc03b257" providerId="ADAL" clId="{A1E48FF9-2244-4570-8C54-C79B1B39EA61}" dt="2022-12-02T17:18:22.217" v="61"/>
        <pc:sldMkLst>
          <pc:docMk/>
          <pc:sldMk cId="31144451" sldId="2146846844"/>
        </pc:sldMkLst>
      </pc:sldChg>
      <pc:sldChg chg="ord">
        <pc:chgData name="Laurent Thiebaut (Nokia)" userId="5a0f83ef-4330-4e17-8828-eca8fc03b257" providerId="ADAL" clId="{A1E48FF9-2244-4570-8C54-C79B1B39EA61}" dt="2022-12-02T17:18:22.217" v="61"/>
        <pc:sldMkLst>
          <pc:docMk/>
          <pc:sldMk cId="1458889007" sldId="2146846846"/>
        </pc:sldMkLst>
      </pc:sldChg>
      <pc:sldChg chg="ord">
        <pc:chgData name="Laurent Thiebaut (Nokia)" userId="5a0f83ef-4330-4e17-8828-eca8fc03b257" providerId="ADAL" clId="{A1E48FF9-2244-4570-8C54-C79B1B39EA61}" dt="2022-12-02T17:35:23.925" v="371"/>
        <pc:sldMkLst>
          <pc:docMk/>
          <pc:sldMk cId="3312663273" sldId="2146846894"/>
        </pc:sldMkLst>
      </pc:sldChg>
      <pc:sldChg chg="ord">
        <pc:chgData name="Laurent Thiebaut (Nokia)" userId="5a0f83ef-4330-4e17-8828-eca8fc03b257" providerId="ADAL" clId="{A1E48FF9-2244-4570-8C54-C79B1B39EA61}" dt="2022-12-02T17:18:22.217" v="61"/>
        <pc:sldMkLst>
          <pc:docMk/>
          <pc:sldMk cId="2047454418" sldId="2146846898"/>
        </pc:sldMkLst>
      </pc:sldChg>
      <pc:sldChg chg="ord">
        <pc:chgData name="Laurent Thiebaut (Nokia)" userId="5a0f83ef-4330-4e17-8828-eca8fc03b257" providerId="ADAL" clId="{A1E48FF9-2244-4570-8C54-C79B1B39EA61}" dt="2022-12-02T17:18:22.217" v="61"/>
        <pc:sldMkLst>
          <pc:docMk/>
          <pc:sldMk cId="406647837" sldId="2146846905"/>
        </pc:sldMkLst>
      </pc:sldChg>
      <pc:sldChg chg="modSp mod">
        <pc:chgData name="Laurent Thiebaut (Nokia)" userId="5a0f83ef-4330-4e17-8828-eca8fc03b257" providerId="ADAL" clId="{A1E48FF9-2244-4570-8C54-C79B1B39EA61}" dt="2022-12-02T16:32:25.652" v="40" actId="20577"/>
        <pc:sldMkLst>
          <pc:docMk/>
          <pc:sldMk cId="945775949" sldId="2146846918"/>
        </pc:sldMkLst>
        <pc:spChg chg="mod">
          <ac:chgData name="Laurent Thiebaut (Nokia)" userId="5a0f83ef-4330-4e17-8828-eca8fc03b257" providerId="ADAL" clId="{A1E48FF9-2244-4570-8C54-C79B1B39EA61}" dt="2022-12-02T16:28:41.486" v="2"/>
          <ac:spMkLst>
            <pc:docMk/>
            <pc:sldMk cId="945775949" sldId="2146846918"/>
            <ac:spMk id="3" creationId="{85A38C5A-5EBC-4325-8F64-062DAE1CFEC0}"/>
          </ac:spMkLst>
        </pc:spChg>
        <pc:spChg chg="mod">
          <ac:chgData name="Laurent Thiebaut (Nokia)" userId="5a0f83ef-4330-4e17-8828-eca8fc03b257" providerId="ADAL" clId="{A1E48FF9-2244-4570-8C54-C79B1B39EA61}" dt="2022-12-02T16:28:19.178" v="1"/>
          <ac:spMkLst>
            <pc:docMk/>
            <pc:sldMk cId="945775949" sldId="2146846918"/>
            <ac:spMk id="4" creationId="{BD612997-8F8D-4939-8023-9B09970813F4}"/>
          </ac:spMkLst>
        </pc:spChg>
        <pc:spChg chg="mod">
          <ac:chgData name="Laurent Thiebaut (Nokia)" userId="5a0f83ef-4330-4e17-8828-eca8fc03b257" providerId="ADAL" clId="{A1E48FF9-2244-4570-8C54-C79B1B39EA61}" dt="2022-12-02T16:32:25.652" v="40" actId="20577"/>
          <ac:spMkLst>
            <pc:docMk/>
            <pc:sldMk cId="945775949" sldId="2146846918"/>
            <ac:spMk id="5" creationId="{0A813F0E-7224-42E6-A359-B5A9B05FEE7A}"/>
          </ac:spMkLst>
        </pc:spChg>
      </pc:sldChg>
      <pc:sldChg chg="modSp mod">
        <pc:chgData name="Laurent Thiebaut (Nokia)" userId="5a0f83ef-4330-4e17-8828-eca8fc03b257" providerId="ADAL" clId="{A1E48FF9-2244-4570-8C54-C79B1B39EA61}" dt="2022-12-02T17:32:27.143" v="357" actId="20577"/>
        <pc:sldMkLst>
          <pc:docMk/>
          <pc:sldMk cId="2197479594" sldId="2146846944"/>
        </pc:sldMkLst>
        <pc:spChg chg="mod">
          <ac:chgData name="Laurent Thiebaut (Nokia)" userId="5a0f83ef-4330-4e17-8828-eca8fc03b257" providerId="ADAL" clId="{A1E48FF9-2244-4570-8C54-C79B1B39EA61}" dt="2022-12-02T17:32:27.143" v="357" actId="20577"/>
          <ac:spMkLst>
            <pc:docMk/>
            <pc:sldMk cId="2197479594" sldId="2146846944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A1E48FF9-2244-4570-8C54-C79B1B39EA61}" dt="2022-12-02T17:32:23.953" v="354" actId="6549"/>
          <ac:spMkLst>
            <pc:docMk/>
            <pc:sldMk cId="2197479594" sldId="2146846944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A1E48FF9-2244-4570-8C54-C79B1B39EA61}" dt="2022-12-02T17:32:16.554" v="353"/>
          <ac:spMkLst>
            <pc:docMk/>
            <pc:sldMk cId="2197479594" sldId="2146846944"/>
            <ac:spMk id="4" creationId="{CD72C33D-DF40-4601-AF02-8DFD5A6EA958}"/>
          </ac:spMkLst>
        </pc:spChg>
      </pc:sldChg>
      <pc:sldChg chg="del">
        <pc:chgData name="Laurent Thiebaut (Nokia)" userId="5a0f83ef-4330-4e17-8828-eca8fc03b257" providerId="ADAL" clId="{A1E48FF9-2244-4570-8C54-C79B1B39EA61}" dt="2022-12-02T17:32:43.867" v="362" actId="47"/>
        <pc:sldMkLst>
          <pc:docMk/>
          <pc:sldMk cId="3303555974" sldId="2146846945"/>
        </pc:sldMkLst>
      </pc:sldChg>
      <pc:sldChg chg="modSp mod ord">
        <pc:chgData name="Laurent Thiebaut (Nokia)" userId="5a0f83ef-4330-4e17-8828-eca8fc03b257" providerId="ADAL" clId="{A1E48FF9-2244-4570-8C54-C79B1B39EA61}" dt="2022-12-02T17:35:23.925" v="371"/>
        <pc:sldMkLst>
          <pc:docMk/>
          <pc:sldMk cId="1448980900" sldId="2146846946"/>
        </pc:sldMkLst>
        <pc:spChg chg="mod">
          <ac:chgData name="Laurent Thiebaut (Nokia)" userId="5a0f83ef-4330-4e17-8828-eca8fc03b257" providerId="ADAL" clId="{A1E48FF9-2244-4570-8C54-C79B1B39EA61}" dt="2022-12-02T17:34:23.887" v="367" actId="6549"/>
          <ac:spMkLst>
            <pc:docMk/>
            <pc:sldMk cId="1448980900" sldId="2146846946"/>
            <ac:spMk id="8" creationId="{F33D3D28-799C-427F-86FD-5638A2F8CB9D}"/>
          </ac:spMkLst>
        </pc:spChg>
      </pc:sldChg>
      <pc:sldChg chg="modSp mod ord">
        <pc:chgData name="Laurent Thiebaut (Nokia)" userId="5a0f83ef-4330-4e17-8828-eca8fc03b257" providerId="ADAL" clId="{A1E48FF9-2244-4570-8C54-C79B1B39EA61}" dt="2022-12-02T17:35:23.925" v="371"/>
        <pc:sldMkLst>
          <pc:docMk/>
          <pc:sldMk cId="1192268341" sldId="2146846947"/>
        </pc:sldMkLst>
        <pc:spChg chg="mod">
          <ac:chgData name="Laurent Thiebaut (Nokia)" userId="5a0f83ef-4330-4e17-8828-eca8fc03b257" providerId="ADAL" clId="{A1E48FF9-2244-4570-8C54-C79B1B39EA61}" dt="2022-12-02T17:34:32.035" v="368" actId="6549"/>
          <ac:spMkLst>
            <pc:docMk/>
            <pc:sldMk cId="1192268341" sldId="2146846947"/>
            <ac:spMk id="8" creationId="{F33D3D28-799C-427F-86FD-5638A2F8CB9D}"/>
          </ac:spMkLst>
        </pc:spChg>
      </pc:sldChg>
      <pc:sldChg chg="modSp mod ord">
        <pc:chgData name="Laurent Thiebaut (Nokia)" userId="5a0f83ef-4330-4e17-8828-eca8fc03b257" providerId="ADAL" clId="{A1E48FF9-2244-4570-8C54-C79B1B39EA61}" dt="2022-12-02T17:35:23.925" v="371"/>
        <pc:sldMkLst>
          <pc:docMk/>
          <pc:sldMk cId="3399087062" sldId="2146846948"/>
        </pc:sldMkLst>
        <pc:spChg chg="mod">
          <ac:chgData name="Laurent Thiebaut (Nokia)" userId="5a0f83ef-4330-4e17-8828-eca8fc03b257" providerId="ADAL" clId="{A1E48FF9-2244-4570-8C54-C79B1B39EA61}" dt="2022-12-02T17:34:46.137" v="369" actId="6549"/>
          <ac:spMkLst>
            <pc:docMk/>
            <pc:sldMk cId="3399087062" sldId="2146846948"/>
            <ac:spMk id="8" creationId="{F33D3D28-799C-427F-86FD-5638A2F8CB9D}"/>
          </ac:spMkLst>
        </pc:spChg>
      </pc:sldChg>
      <pc:sldChg chg="ord">
        <pc:chgData name="Laurent Thiebaut (Nokia)" userId="5a0f83ef-4330-4e17-8828-eca8fc03b257" providerId="ADAL" clId="{A1E48FF9-2244-4570-8C54-C79B1B39EA61}" dt="2022-12-02T17:35:23.925" v="371"/>
        <pc:sldMkLst>
          <pc:docMk/>
          <pc:sldMk cId="4135317378" sldId="2146846949"/>
        </pc:sldMkLst>
      </pc:sldChg>
      <pc:sldChg chg="del">
        <pc:chgData name="Laurent Thiebaut (Nokia)" userId="5a0f83ef-4330-4e17-8828-eca8fc03b257" providerId="ADAL" clId="{A1E48FF9-2244-4570-8C54-C79B1B39EA61}" dt="2022-12-02T16:33:29.669" v="42" actId="2696"/>
        <pc:sldMkLst>
          <pc:docMk/>
          <pc:sldMk cId="1479038244" sldId="2146846952"/>
        </pc:sldMkLst>
      </pc:sldChg>
      <pc:sldChg chg="add del">
        <pc:chgData name="Laurent Thiebaut (Nokia)" userId="5a0f83ef-4330-4e17-8828-eca8fc03b257" providerId="ADAL" clId="{A1E48FF9-2244-4570-8C54-C79B1B39EA61}" dt="2022-12-05T11:16:41.181" v="375" actId="47"/>
        <pc:sldMkLst>
          <pc:docMk/>
          <pc:sldMk cId="2814738112" sldId="2146846952"/>
        </pc:sldMkLst>
      </pc:sldChg>
      <pc:sldChg chg="add del">
        <pc:chgData name="Laurent Thiebaut (Nokia)" userId="5a0f83ef-4330-4e17-8828-eca8fc03b257" providerId="ADAL" clId="{A1E48FF9-2244-4570-8C54-C79B1B39EA61}" dt="2022-12-05T11:16:13.419" v="373" actId="2696"/>
        <pc:sldMkLst>
          <pc:docMk/>
          <pc:sldMk cId="4039469973" sldId="2146846952"/>
        </pc:sldMkLst>
      </pc:sldChg>
      <pc:sldChg chg="del">
        <pc:chgData name="Laurent Thiebaut (Nokia)" userId="5a0f83ef-4330-4e17-8828-eca8fc03b257" providerId="ADAL" clId="{A1E48FF9-2244-4570-8C54-C79B1B39EA61}" dt="2022-12-02T16:33:29.669" v="42" actId="2696"/>
        <pc:sldMkLst>
          <pc:docMk/>
          <pc:sldMk cId="870368088" sldId="2146846953"/>
        </pc:sldMkLst>
      </pc:sldChg>
      <pc:sldChg chg="delSp add del mod">
        <pc:chgData name="Laurent Thiebaut (Nokia)" userId="5a0f83ef-4330-4e17-8828-eca8fc03b257" providerId="ADAL" clId="{A1E48FF9-2244-4570-8C54-C79B1B39EA61}" dt="2022-12-05T11:23:42.459" v="386" actId="2696"/>
        <pc:sldMkLst>
          <pc:docMk/>
          <pc:sldMk cId="1076547157" sldId="2146846953"/>
        </pc:sldMkLst>
        <pc:spChg chg="del">
          <ac:chgData name="Laurent Thiebaut (Nokia)" userId="5a0f83ef-4330-4e17-8828-eca8fc03b257" providerId="ADAL" clId="{A1E48FF9-2244-4570-8C54-C79B1B39EA61}" dt="2022-12-05T11:17:00.859" v="376" actId="478"/>
          <ac:spMkLst>
            <pc:docMk/>
            <pc:sldMk cId="1076547157" sldId="2146846953"/>
            <ac:spMk id="7" creationId="{549839A6-74B7-4FBB-BE42-38F844A55F8E}"/>
          </ac:spMkLst>
        </pc:spChg>
      </pc:sldChg>
      <pc:sldChg chg="add">
        <pc:chgData name="Laurent Thiebaut (Nokia)" userId="5a0f83ef-4330-4e17-8828-eca8fc03b257" providerId="ADAL" clId="{A1E48FF9-2244-4570-8C54-C79B1B39EA61}" dt="2022-12-05T11:23:56.366" v="387"/>
        <pc:sldMkLst>
          <pc:docMk/>
          <pc:sldMk cId="2695474285" sldId="2146846953"/>
        </pc:sldMkLst>
      </pc:sldChg>
      <pc:sldChg chg="add del">
        <pc:chgData name="Laurent Thiebaut (Nokia)" userId="5a0f83ef-4330-4e17-8828-eca8fc03b257" providerId="ADAL" clId="{A1E48FF9-2244-4570-8C54-C79B1B39EA61}" dt="2022-12-05T11:16:13.419" v="373" actId="2696"/>
        <pc:sldMkLst>
          <pc:docMk/>
          <pc:sldMk cId="2733409548" sldId="2146846953"/>
        </pc:sldMkLst>
      </pc:sldChg>
      <pc:sldChg chg="modSp mod">
        <pc:chgData name="Laurent Thiebaut (Nokia)" userId="5a0f83ef-4330-4e17-8828-eca8fc03b257" providerId="ADAL" clId="{A1E48FF9-2244-4570-8C54-C79B1B39EA61}" dt="2022-12-02T17:28:36.743" v="336" actId="6549"/>
        <pc:sldMkLst>
          <pc:docMk/>
          <pc:sldMk cId="2989177604" sldId="2146846954"/>
        </pc:sldMkLst>
        <pc:spChg chg="mod">
          <ac:chgData name="Laurent Thiebaut (Nokia)" userId="5a0f83ef-4330-4e17-8828-eca8fc03b257" providerId="ADAL" clId="{A1E48FF9-2244-4570-8C54-C79B1B39EA61}" dt="2022-12-02T17:28:32.998" v="335" actId="6549"/>
          <ac:spMkLst>
            <pc:docMk/>
            <pc:sldMk cId="2989177604" sldId="2146846954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A1E48FF9-2244-4570-8C54-C79B1B39EA61}" dt="2022-12-02T17:28:36.743" v="336" actId="6549"/>
          <ac:spMkLst>
            <pc:docMk/>
            <pc:sldMk cId="2989177604" sldId="2146846954"/>
            <ac:spMk id="7" creationId="{09834F37-5DE0-420F-B9B9-BC28BF127BA0}"/>
          </ac:spMkLst>
        </pc:spChg>
      </pc:sldChg>
      <pc:sldChg chg="add del">
        <pc:chgData name="Laurent Thiebaut (Nokia)" userId="5a0f83ef-4330-4e17-8828-eca8fc03b257" providerId="ADAL" clId="{A1E48FF9-2244-4570-8C54-C79B1B39EA61}" dt="2022-12-05T11:16:13.419" v="373" actId="2696"/>
        <pc:sldMkLst>
          <pc:docMk/>
          <pc:sldMk cId="1021735649" sldId="2146846956"/>
        </pc:sldMkLst>
      </pc:sldChg>
      <pc:sldChg chg="add">
        <pc:chgData name="Laurent Thiebaut (Nokia)" userId="5a0f83ef-4330-4e17-8828-eca8fc03b257" providerId="ADAL" clId="{A1E48FF9-2244-4570-8C54-C79B1B39EA61}" dt="2022-12-05T11:23:56.366" v="387"/>
        <pc:sldMkLst>
          <pc:docMk/>
          <pc:sldMk cId="1318381838" sldId="2146846956"/>
        </pc:sldMkLst>
      </pc:sldChg>
      <pc:sldChg chg="del">
        <pc:chgData name="Laurent Thiebaut (Nokia)" userId="5a0f83ef-4330-4e17-8828-eca8fc03b257" providerId="ADAL" clId="{A1E48FF9-2244-4570-8C54-C79B1B39EA61}" dt="2022-12-02T16:33:29.669" v="42" actId="2696"/>
        <pc:sldMkLst>
          <pc:docMk/>
          <pc:sldMk cId="2215845275" sldId="2146846956"/>
        </pc:sldMkLst>
      </pc:sldChg>
      <pc:sldChg chg="add del">
        <pc:chgData name="Laurent Thiebaut (Nokia)" userId="5a0f83ef-4330-4e17-8828-eca8fc03b257" providerId="ADAL" clId="{A1E48FF9-2244-4570-8C54-C79B1B39EA61}" dt="2022-12-05T11:23:42.459" v="386" actId="2696"/>
        <pc:sldMkLst>
          <pc:docMk/>
          <pc:sldMk cId="2622563539" sldId="2146846956"/>
        </pc:sldMkLst>
      </pc:sldChg>
      <pc:sldChg chg="ord">
        <pc:chgData name="Laurent Thiebaut (Nokia)" userId="5a0f83ef-4330-4e17-8828-eca8fc03b257" providerId="ADAL" clId="{A1E48FF9-2244-4570-8C54-C79B1B39EA61}" dt="2022-12-02T17:18:22.217" v="61"/>
        <pc:sldMkLst>
          <pc:docMk/>
          <pc:sldMk cId="943752710" sldId="2146846957"/>
        </pc:sldMkLst>
      </pc:sldChg>
      <pc:sldChg chg="ord">
        <pc:chgData name="Laurent Thiebaut (Nokia)" userId="5a0f83ef-4330-4e17-8828-eca8fc03b257" providerId="ADAL" clId="{A1E48FF9-2244-4570-8C54-C79B1B39EA61}" dt="2022-12-02T17:18:22.217" v="61"/>
        <pc:sldMkLst>
          <pc:docMk/>
          <pc:sldMk cId="2423972254" sldId="2146846958"/>
        </pc:sldMkLst>
      </pc:sldChg>
      <pc:sldChg chg="add">
        <pc:chgData name="Laurent Thiebaut (Nokia)" userId="5a0f83ef-4330-4e17-8828-eca8fc03b257" providerId="ADAL" clId="{A1E48FF9-2244-4570-8C54-C79B1B39EA61}" dt="2022-12-05T11:23:56.366" v="387"/>
        <pc:sldMkLst>
          <pc:docMk/>
          <pc:sldMk cId="1842070904" sldId="2146846968"/>
        </pc:sldMkLst>
      </pc:sldChg>
      <pc:sldChg chg="del">
        <pc:chgData name="Laurent Thiebaut (Nokia)" userId="5a0f83ef-4330-4e17-8828-eca8fc03b257" providerId="ADAL" clId="{A1E48FF9-2244-4570-8C54-C79B1B39EA61}" dt="2022-12-05T11:23:42.459" v="386" actId="2696"/>
        <pc:sldMkLst>
          <pc:docMk/>
          <pc:sldMk cId="2215845275" sldId="2146846968"/>
        </pc:sldMkLst>
      </pc:sldChg>
      <pc:sldChg chg="add">
        <pc:chgData name="Laurent Thiebaut (Nokia)" userId="5a0f83ef-4330-4e17-8828-eca8fc03b257" providerId="ADAL" clId="{A1E48FF9-2244-4570-8C54-C79B1B39EA61}" dt="2022-12-05T11:24:39.131" v="389"/>
        <pc:sldMkLst>
          <pc:docMk/>
          <pc:sldMk cId="3082976717" sldId="2146846969"/>
        </pc:sldMkLst>
      </pc:sldChg>
      <pc:sldChg chg="del">
        <pc:chgData name="Laurent Thiebaut (Nokia)" userId="5a0f83ef-4330-4e17-8828-eca8fc03b257" providerId="ADAL" clId="{A1E48FF9-2244-4570-8C54-C79B1B39EA61}" dt="2022-12-05T11:24:22.369" v="388" actId="2696"/>
        <pc:sldMkLst>
          <pc:docMk/>
          <pc:sldMk cId="4058157968" sldId="2146846969"/>
        </pc:sldMkLst>
      </pc:sldChg>
      <pc:sldChg chg="del">
        <pc:chgData name="Laurent Thiebaut (Nokia)" userId="5a0f83ef-4330-4e17-8828-eca8fc03b257" providerId="ADAL" clId="{A1E48FF9-2244-4570-8C54-C79B1B39EA61}" dt="2022-12-05T11:24:22.369" v="388" actId="2696"/>
        <pc:sldMkLst>
          <pc:docMk/>
          <pc:sldMk cId="2504306831" sldId="2146846970"/>
        </pc:sldMkLst>
      </pc:sldChg>
      <pc:sldChg chg="add">
        <pc:chgData name="Laurent Thiebaut (Nokia)" userId="5a0f83ef-4330-4e17-8828-eca8fc03b257" providerId="ADAL" clId="{A1E48FF9-2244-4570-8C54-C79B1B39EA61}" dt="2022-12-05T11:24:39.131" v="389"/>
        <pc:sldMkLst>
          <pc:docMk/>
          <pc:sldMk cId="3297987572" sldId="2146846970"/>
        </pc:sldMkLst>
      </pc:sldChg>
      <pc:sldChg chg="del">
        <pc:chgData name="Laurent Thiebaut (Nokia)" userId="5a0f83ef-4330-4e17-8828-eca8fc03b257" providerId="ADAL" clId="{A1E48FF9-2244-4570-8C54-C79B1B39EA61}" dt="2022-12-05T11:24:22.369" v="388" actId="2696"/>
        <pc:sldMkLst>
          <pc:docMk/>
          <pc:sldMk cId="3477942587" sldId="2146846971"/>
        </pc:sldMkLst>
      </pc:sldChg>
      <pc:sldChg chg="add">
        <pc:chgData name="Laurent Thiebaut (Nokia)" userId="5a0f83ef-4330-4e17-8828-eca8fc03b257" providerId="ADAL" clId="{A1E48FF9-2244-4570-8C54-C79B1B39EA61}" dt="2022-12-05T11:24:39.131" v="389"/>
        <pc:sldMkLst>
          <pc:docMk/>
          <pc:sldMk cId="4261611388" sldId="2146846971"/>
        </pc:sldMkLst>
      </pc:sldChg>
      <pc:sldChg chg="del">
        <pc:chgData name="Laurent Thiebaut (Nokia)" userId="5a0f83ef-4330-4e17-8828-eca8fc03b257" providerId="ADAL" clId="{A1E48FF9-2244-4570-8C54-C79B1B39EA61}" dt="2022-12-05T11:24:22.369" v="388" actId="2696"/>
        <pc:sldMkLst>
          <pc:docMk/>
          <pc:sldMk cId="320400314" sldId="2146846972"/>
        </pc:sldMkLst>
      </pc:sldChg>
      <pc:sldChg chg="add">
        <pc:chgData name="Laurent Thiebaut (Nokia)" userId="5a0f83ef-4330-4e17-8828-eca8fc03b257" providerId="ADAL" clId="{A1E48FF9-2244-4570-8C54-C79B1B39EA61}" dt="2022-12-05T11:24:39.131" v="389"/>
        <pc:sldMkLst>
          <pc:docMk/>
          <pc:sldMk cId="1401639605" sldId="2146846972"/>
        </pc:sldMkLst>
      </pc:sldChg>
      <pc:sldChg chg="add del">
        <pc:chgData name="Laurent Thiebaut (Nokia)" userId="5a0f83ef-4330-4e17-8828-eca8fc03b257" providerId="ADAL" clId="{A1E48FF9-2244-4570-8C54-C79B1B39EA61}" dt="2022-12-05T11:23:42.459" v="386" actId="2696"/>
        <pc:sldMkLst>
          <pc:docMk/>
          <pc:sldMk cId="1683303118" sldId="2146846977"/>
        </pc:sldMkLst>
      </pc:sldChg>
      <pc:sldChg chg="add">
        <pc:chgData name="Laurent Thiebaut (Nokia)" userId="5a0f83ef-4330-4e17-8828-eca8fc03b257" providerId="ADAL" clId="{A1E48FF9-2244-4570-8C54-C79B1B39EA61}" dt="2022-12-05T11:23:56.366" v="387"/>
        <pc:sldMkLst>
          <pc:docMk/>
          <pc:sldMk cId="3127539508" sldId="2146846977"/>
        </pc:sldMkLst>
      </pc:sldChg>
      <pc:sldMasterChg chg="delSldLayout">
        <pc:chgData name="Laurent Thiebaut (Nokia)" userId="5a0f83ef-4330-4e17-8828-eca8fc03b257" providerId="ADAL" clId="{A1E48FF9-2244-4570-8C54-C79B1B39EA61}" dt="2022-12-05T11:18:31.895" v="378" actId="2696"/>
        <pc:sldMasterMkLst>
          <pc:docMk/>
          <pc:sldMasterMk cId="4241891639" sldId="2147483650"/>
        </pc:sldMasterMkLst>
        <pc:sldLayoutChg chg="del">
          <pc:chgData name="Laurent Thiebaut (Nokia)" userId="5a0f83ef-4330-4e17-8828-eca8fc03b257" providerId="ADAL" clId="{A1E48FF9-2244-4570-8C54-C79B1B39EA61}" dt="2022-12-05T11:18:31.895" v="378" actId="2696"/>
          <pc:sldLayoutMkLst>
            <pc:docMk/>
            <pc:sldMasterMk cId="4241891639" sldId="2147483650"/>
            <pc:sldLayoutMk cId="2036579982" sldId="2147483906"/>
          </pc:sldLayoutMkLst>
        </pc:sldLayoutChg>
      </pc:sldMasterChg>
    </pc:docChg>
  </pc:docChgLst>
  <pc:docChgLst>
    <pc:chgData name="Casati, Alessio (Nokia - GB)" userId="S::alessio.casati@nokia.com::6f050b0a-bf61-49f1-93be-076af52cf2e7" providerId="AD" clId="Web-{A4ACBBAA-FF45-36EA-8CFB-573776D6D8A6}"/>
    <pc:docChg chg="modSld">
      <pc:chgData name="Casati, Alessio (Nokia - GB)" userId="S::alessio.casati@nokia.com::6f050b0a-bf61-49f1-93be-076af52cf2e7" providerId="AD" clId="Web-{A4ACBBAA-FF45-36EA-8CFB-573776D6D8A6}" dt="2020-06-22T15:45:39.434" v="1" actId="20577"/>
      <pc:docMkLst>
        <pc:docMk/>
      </pc:docMkLst>
      <pc:sldChg chg="modSp">
        <pc:chgData name="Casati, Alessio (Nokia - GB)" userId="S::alessio.casati@nokia.com::6f050b0a-bf61-49f1-93be-076af52cf2e7" providerId="AD" clId="Web-{A4ACBBAA-FF45-36EA-8CFB-573776D6D8A6}" dt="2020-06-22T15:45:39.418" v="0" actId="20577"/>
        <pc:sldMkLst>
          <pc:docMk/>
          <pc:sldMk cId="4003911250" sldId="371"/>
        </pc:sldMkLst>
        <pc:spChg chg="mod">
          <ac:chgData name="Casati, Alessio (Nokia - GB)" userId="S::alessio.casati@nokia.com::6f050b0a-bf61-49f1-93be-076af52cf2e7" providerId="AD" clId="Web-{A4ACBBAA-FF45-36EA-8CFB-573776D6D8A6}" dt="2020-06-22T15:45:39.418" v="0" actId="20577"/>
          <ac:spMkLst>
            <pc:docMk/>
            <pc:sldMk cId="4003911250" sldId="371"/>
            <ac:spMk id="4" creationId="{5C8D5078-B8D0-4095-8466-64F7613FE8A6}"/>
          </ac:spMkLst>
        </pc:spChg>
      </pc:sldChg>
    </pc:docChg>
  </pc:docChgLst>
  <pc:docChgLst>
    <pc:chgData name="Liebhart, Rainer (Nokia - DE/Munich)" userId="9d27e965-bed7-441e-8c07-02c758a9258d" providerId="ADAL" clId="{2D33F9ED-790D-43A8-B3D8-8ABA8F9F1126}"/>
    <pc:docChg chg="undo custSel addSld delSld modSld">
      <pc:chgData name="Liebhart, Rainer (Nokia - DE/Munich)" userId="9d27e965-bed7-441e-8c07-02c758a9258d" providerId="ADAL" clId="{2D33F9ED-790D-43A8-B3D8-8ABA8F9F1126}" dt="2022-03-03T15:08:05.522" v="1971" actId="6549"/>
      <pc:docMkLst>
        <pc:docMk/>
      </pc:docMkLst>
      <pc:sldChg chg="modSp mod">
        <pc:chgData name="Liebhart, Rainer (Nokia - DE/Munich)" userId="9d27e965-bed7-441e-8c07-02c758a9258d" providerId="ADAL" clId="{2D33F9ED-790D-43A8-B3D8-8ABA8F9F1126}" dt="2022-03-03T15:08:05.522" v="1971" actId="6549"/>
        <pc:sldMkLst>
          <pc:docMk/>
          <pc:sldMk cId="2093721602" sldId="2134805360"/>
        </pc:sldMkLst>
        <pc:spChg chg="mod">
          <ac:chgData name="Liebhart, Rainer (Nokia - DE/Munich)" userId="9d27e965-bed7-441e-8c07-02c758a9258d" providerId="ADAL" clId="{2D33F9ED-790D-43A8-B3D8-8ABA8F9F1126}" dt="2022-03-03T15:08:05.522" v="1971" actId="6549"/>
          <ac:spMkLst>
            <pc:docMk/>
            <pc:sldMk cId="2093721602" sldId="2134805360"/>
            <ac:spMk id="6" creationId="{2E20DBE3-132B-4E49-9B12-D7A9DE1B1D38}"/>
          </ac:spMkLst>
        </pc:spChg>
      </pc:sldChg>
      <pc:sldChg chg="modSp del mod">
        <pc:chgData name="Liebhart, Rainer (Nokia - DE/Munich)" userId="9d27e965-bed7-441e-8c07-02c758a9258d" providerId="ADAL" clId="{2D33F9ED-790D-43A8-B3D8-8ABA8F9F1126}" dt="2022-03-03T11:55:54.607" v="835" actId="47"/>
        <pc:sldMkLst>
          <pc:docMk/>
          <pc:sldMk cId="4125104634" sldId="2134805441"/>
        </pc:sldMkLst>
        <pc:spChg chg="mod">
          <ac:chgData name="Liebhart, Rainer (Nokia - DE/Munich)" userId="9d27e965-bed7-441e-8c07-02c758a9258d" providerId="ADAL" clId="{2D33F9ED-790D-43A8-B3D8-8ABA8F9F1126}" dt="2022-03-03T11:28:15.594" v="784" actId="6549"/>
          <ac:spMkLst>
            <pc:docMk/>
            <pc:sldMk cId="4125104634" sldId="2134805441"/>
            <ac:spMk id="6" creationId="{2E20DBE3-132B-4E49-9B12-D7A9DE1B1D38}"/>
          </ac:spMkLst>
        </pc:spChg>
      </pc:sldChg>
      <pc:sldChg chg="del">
        <pc:chgData name="Liebhart, Rainer (Nokia - DE/Munich)" userId="9d27e965-bed7-441e-8c07-02c758a9258d" providerId="ADAL" clId="{2D33F9ED-790D-43A8-B3D8-8ABA8F9F1126}" dt="2022-03-03T11:56:09.841" v="836" actId="47"/>
        <pc:sldMkLst>
          <pc:docMk/>
          <pc:sldMk cId="1956657785" sldId="2134805448"/>
        </pc:sldMkLst>
      </pc:sldChg>
      <pc:sldChg chg="modSp mod">
        <pc:chgData name="Liebhart, Rainer (Nokia - DE/Munich)" userId="9d27e965-bed7-441e-8c07-02c758a9258d" providerId="ADAL" clId="{2D33F9ED-790D-43A8-B3D8-8ABA8F9F1126}" dt="2022-03-03T13:45:17.393" v="1427" actId="14100"/>
        <pc:sldMkLst>
          <pc:docMk/>
          <pc:sldMk cId="3189624576" sldId="2134805455"/>
        </pc:sldMkLst>
        <pc:spChg chg="mod">
          <ac:chgData name="Liebhart, Rainer (Nokia - DE/Munich)" userId="9d27e965-bed7-441e-8c07-02c758a9258d" providerId="ADAL" clId="{2D33F9ED-790D-43A8-B3D8-8ABA8F9F1126}" dt="2022-03-03T13:45:17.393" v="1427" actId="14100"/>
          <ac:spMkLst>
            <pc:docMk/>
            <pc:sldMk cId="3189624576" sldId="2134805455"/>
            <ac:spMk id="6" creationId="{2E20DBE3-132B-4E49-9B12-D7A9DE1B1D38}"/>
          </ac:spMkLst>
        </pc:spChg>
      </pc:sldChg>
      <pc:sldChg chg="modSp del mod">
        <pc:chgData name="Liebhart, Rainer (Nokia - DE/Munich)" userId="9d27e965-bed7-441e-8c07-02c758a9258d" providerId="ADAL" clId="{2D33F9ED-790D-43A8-B3D8-8ABA8F9F1126}" dt="2022-03-03T13:38:39.346" v="1390" actId="47"/>
        <pc:sldMkLst>
          <pc:docMk/>
          <pc:sldMk cId="231888069" sldId="2134805456"/>
        </pc:sldMkLst>
        <pc:spChg chg="mod">
          <ac:chgData name="Liebhart, Rainer (Nokia - DE/Munich)" userId="9d27e965-bed7-441e-8c07-02c758a9258d" providerId="ADAL" clId="{2D33F9ED-790D-43A8-B3D8-8ABA8F9F1126}" dt="2022-03-03T13:38:13.802" v="1384" actId="6549"/>
          <ac:spMkLst>
            <pc:docMk/>
            <pc:sldMk cId="231888069" sldId="2134805456"/>
            <ac:spMk id="6" creationId="{2E20DBE3-132B-4E49-9B12-D7A9DE1B1D38}"/>
          </ac:spMkLst>
        </pc:spChg>
      </pc:sldChg>
      <pc:sldChg chg="modSp del mod">
        <pc:chgData name="Liebhart, Rainer (Nokia - DE/Munich)" userId="9d27e965-bed7-441e-8c07-02c758a9258d" providerId="ADAL" clId="{2D33F9ED-790D-43A8-B3D8-8ABA8F9F1126}" dt="2022-03-03T11:07:47.367" v="269" actId="47"/>
        <pc:sldMkLst>
          <pc:docMk/>
          <pc:sldMk cId="1087646751" sldId="2134805457"/>
        </pc:sldMkLst>
        <pc:spChg chg="mod">
          <ac:chgData name="Liebhart, Rainer (Nokia - DE/Munich)" userId="9d27e965-bed7-441e-8c07-02c758a9258d" providerId="ADAL" clId="{2D33F9ED-790D-43A8-B3D8-8ABA8F9F1126}" dt="2022-03-03T11:07:42.035" v="267" actId="21"/>
          <ac:spMkLst>
            <pc:docMk/>
            <pc:sldMk cId="1087646751" sldId="2134805457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2D33F9ED-790D-43A8-B3D8-8ABA8F9F1126}" dt="2022-03-03T13:56:01.660" v="1931" actId="6549"/>
        <pc:sldMkLst>
          <pc:docMk/>
          <pc:sldMk cId="739015424" sldId="2134805526"/>
        </pc:sldMkLst>
        <pc:spChg chg="mod">
          <ac:chgData name="Liebhart, Rainer (Nokia - DE/Munich)" userId="9d27e965-bed7-441e-8c07-02c758a9258d" providerId="ADAL" clId="{2D33F9ED-790D-43A8-B3D8-8ABA8F9F1126}" dt="2022-03-03T13:56:01.660" v="1931" actId="6549"/>
          <ac:spMkLst>
            <pc:docMk/>
            <pc:sldMk cId="739015424" sldId="2134805526"/>
            <ac:spMk id="6" creationId="{2E20DBE3-132B-4E49-9B12-D7A9DE1B1D38}"/>
          </ac:spMkLst>
        </pc:spChg>
      </pc:sldChg>
      <pc:sldChg chg="modSp del mod">
        <pc:chgData name="Liebhart, Rainer (Nokia - DE/Munich)" userId="9d27e965-bed7-441e-8c07-02c758a9258d" providerId="ADAL" clId="{2D33F9ED-790D-43A8-B3D8-8ABA8F9F1126}" dt="2022-03-03T13:51:41.367" v="1564" actId="47"/>
        <pc:sldMkLst>
          <pc:docMk/>
          <pc:sldMk cId="2823810649" sldId="2134805528"/>
        </pc:sldMkLst>
        <pc:spChg chg="mod">
          <ac:chgData name="Liebhart, Rainer (Nokia - DE/Munich)" userId="9d27e965-bed7-441e-8c07-02c758a9258d" providerId="ADAL" clId="{2D33F9ED-790D-43A8-B3D8-8ABA8F9F1126}" dt="2022-03-03T11:17:23.091" v="463" actId="6549"/>
          <ac:spMkLst>
            <pc:docMk/>
            <pc:sldMk cId="2823810649" sldId="2134805528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2D33F9ED-790D-43A8-B3D8-8ABA8F9F1126}" dt="2022-03-03T11:19:21.070" v="471" actId="20577"/>
        <pc:sldMkLst>
          <pc:docMk/>
          <pc:sldMk cId="1558120283" sldId="2134805530"/>
        </pc:sldMkLst>
        <pc:spChg chg="mod">
          <ac:chgData name="Liebhart, Rainer (Nokia - DE/Munich)" userId="9d27e965-bed7-441e-8c07-02c758a9258d" providerId="ADAL" clId="{2D33F9ED-790D-43A8-B3D8-8ABA8F9F1126}" dt="2022-03-03T11:19:21.070" v="471" actId="20577"/>
          <ac:spMkLst>
            <pc:docMk/>
            <pc:sldMk cId="1558120283" sldId="2134805530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2D33F9ED-790D-43A8-B3D8-8ABA8F9F1126}" dt="2022-03-03T11:20:14.103" v="473" actId="20577"/>
        <pc:sldMkLst>
          <pc:docMk/>
          <pc:sldMk cId="2747439546" sldId="2134805531"/>
        </pc:sldMkLst>
        <pc:spChg chg="mod">
          <ac:chgData name="Liebhart, Rainer (Nokia - DE/Munich)" userId="9d27e965-bed7-441e-8c07-02c758a9258d" providerId="ADAL" clId="{2D33F9ED-790D-43A8-B3D8-8ABA8F9F1126}" dt="2022-03-03T11:20:14.103" v="473" actId="20577"/>
          <ac:spMkLst>
            <pc:docMk/>
            <pc:sldMk cId="2747439546" sldId="2134805531"/>
            <ac:spMk id="6" creationId="{2E20DBE3-132B-4E49-9B12-D7A9DE1B1D38}"/>
          </ac:spMkLst>
        </pc:spChg>
      </pc:sldChg>
      <pc:sldChg chg="del">
        <pc:chgData name="Liebhart, Rainer (Nokia - DE/Munich)" userId="9d27e965-bed7-441e-8c07-02c758a9258d" providerId="ADAL" clId="{2D33F9ED-790D-43A8-B3D8-8ABA8F9F1126}" dt="2022-03-03T10:55:36.145" v="4" actId="47"/>
        <pc:sldMkLst>
          <pc:docMk/>
          <pc:sldMk cId="2869034495" sldId="2134805531"/>
        </pc:sldMkLst>
      </pc:sldChg>
      <pc:sldChg chg="del mod modShow">
        <pc:chgData name="Liebhart, Rainer (Nokia - DE/Munich)" userId="9d27e965-bed7-441e-8c07-02c758a9258d" providerId="ADAL" clId="{2D33F9ED-790D-43A8-B3D8-8ABA8F9F1126}" dt="2022-03-03T13:55:04.090" v="1922" actId="47"/>
        <pc:sldMkLst>
          <pc:docMk/>
          <pc:sldMk cId="139254010" sldId="2134805532"/>
        </pc:sldMkLst>
      </pc:sldChg>
      <pc:sldChg chg="del">
        <pc:chgData name="Liebhart, Rainer (Nokia - DE/Munich)" userId="9d27e965-bed7-441e-8c07-02c758a9258d" providerId="ADAL" clId="{2D33F9ED-790D-43A8-B3D8-8ABA8F9F1126}" dt="2022-03-03T10:55:27.070" v="3" actId="47"/>
        <pc:sldMkLst>
          <pc:docMk/>
          <pc:sldMk cId="146406022" sldId="2134805535"/>
        </pc:sldMkLst>
      </pc:sldChg>
      <pc:sldChg chg="del">
        <pc:chgData name="Liebhart, Rainer (Nokia - DE/Munich)" userId="9d27e965-bed7-441e-8c07-02c758a9258d" providerId="ADAL" clId="{2D33F9ED-790D-43A8-B3D8-8ABA8F9F1126}" dt="2022-03-03T11:22:49.101" v="475" actId="47"/>
        <pc:sldMkLst>
          <pc:docMk/>
          <pc:sldMk cId="2313765211" sldId="2134805567"/>
        </pc:sldMkLst>
      </pc:sldChg>
      <pc:sldChg chg="del">
        <pc:chgData name="Liebhart, Rainer (Nokia - DE/Munich)" userId="9d27e965-bed7-441e-8c07-02c758a9258d" providerId="ADAL" clId="{2D33F9ED-790D-43A8-B3D8-8ABA8F9F1126}" dt="2022-03-03T10:55:17.965" v="1" actId="47"/>
        <pc:sldMkLst>
          <pc:docMk/>
          <pc:sldMk cId="1647295885" sldId="2134805573"/>
        </pc:sldMkLst>
      </pc:sldChg>
      <pc:sldChg chg="del">
        <pc:chgData name="Liebhart, Rainer (Nokia - DE/Munich)" userId="9d27e965-bed7-441e-8c07-02c758a9258d" providerId="ADAL" clId="{2D33F9ED-790D-43A8-B3D8-8ABA8F9F1126}" dt="2022-03-03T10:55:15.528" v="0" actId="47"/>
        <pc:sldMkLst>
          <pc:docMk/>
          <pc:sldMk cId="1912647079" sldId="2134805575"/>
        </pc:sldMkLst>
      </pc:sldChg>
      <pc:sldChg chg="del">
        <pc:chgData name="Liebhart, Rainer (Nokia - DE/Munich)" userId="9d27e965-bed7-441e-8c07-02c758a9258d" providerId="ADAL" clId="{2D33F9ED-790D-43A8-B3D8-8ABA8F9F1126}" dt="2022-03-03T10:55:23.952" v="2" actId="47"/>
        <pc:sldMkLst>
          <pc:docMk/>
          <pc:sldMk cId="1241796621" sldId="2134805579"/>
        </pc:sldMkLst>
      </pc:sldChg>
      <pc:sldChg chg="del">
        <pc:chgData name="Liebhart, Rainer (Nokia - DE/Munich)" userId="9d27e965-bed7-441e-8c07-02c758a9258d" providerId="ADAL" clId="{2D33F9ED-790D-43A8-B3D8-8ABA8F9F1126}" dt="2022-03-03T10:55:36.718" v="5" actId="47"/>
        <pc:sldMkLst>
          <pc:docMk/>
          <pc:sldMk cId="1331716574" sldId="2134805580"/>
        </pc:sldMkLst>
      </pc:sldChg>
      <pc:sldChg chg="modSp del mod">
        <pc:chgData name="Liebhart, Rainer (Nokia - DE/Munich)" userId="9d27e965-bed7-441e-8c07-02c758a9258d" providerId="ADAL" clId="{2D33F9ED-790D-43A8-B3D8-8ABA8F9F1126}" dt="2022-03-03T13:56:10.479" v="1932" actId="47"/>
        <pc:sldMkLst>
          <pc:docMk/>
          <pc:sldMk cId="1691450444" sldId="2146846790"/>
        </pc:sldMkLst>
        <pc:spChg chg="mod">
          <ac:chgData name="Liebhart, Rainer (Nokia - DE/Munich)" userId="9d27e965-bed7-441e-8c07-02c758a9258d" providerId="ADAL" clId="{2D33F9ED-790D-43A8-B3D8-8ABA8F9F1126}" dt="2022-03-03T13:54:27.756" v="1910" actId="14100"/>
          <ac:spMkLst>
            <pc:docMk/>
            <pc:sldMk cId="1691450444" sldId="2146846790"/>
            <ac:spMk id="6" creationId="{2E20DBE3-132B-4E49-9B12-D7A9DE1B1D38}"/>
          </ac:spMkLst>
        </pc:spChg>
      </pc:sldChg>
      <pc:sldChg chg="modSp add del mod">
        <pc:chgData name="Liebhart, Rainer (Nokia - DE/Munich)" userId="9d27e965-bed7-441e-8c07-02c758a9258d" providerId="ADAL" clId="{2D33F9ED-790D-43A8-B3D8-8ABA8F9F1126}" dt="2022-03-03T13:38:48.009" v="1391" actId="47"/>
        <pc:sldMkLst>
          <pc:docMk/>
          <pc:sldMk cId="248663112" sldId="2146846793"/>
        </pc:sldMkLst>
        <pc:spChg chg="mod">
          <ac:chgData name="Liebhart, Rainer (Nokia - DE/Munich)" userId="9d27e965-bed7-441e-8c07-02c758a9258d" providerId="ADAL" clId="{2D33F9ED-790D-43A8-B3D8-8ABA8F9F1126}" dt="2022-03-03T13:34:14.054" v="1068" actId="6549"/>
          <ac:spMkLst>
            <pc:docMk/>
            <pc:sldMk cId="248663112" sldId="2146846793"/>
            <ac:spMk id="6" creationId="{2E20DBE3-132B-4E49-9B12-D7A9DE1B1D38}"/>
          </ac:spMkLst>
        </pc:spChg>
      </pc:sldChg>
      <pc:sldChg chg="add del">
        <pc:chgData name="Liebhart, Rainer (Nokia - DE/Munich)" userId="9d27e965-bed7-441e-8c07-02c758a9258d" providerId="ADAL" clId="{2D33F9ED-790D-43A8-B3D8-8ABA8F9F1126}" dt="2022-03-03T13:46:42.499" v="1457" actId="47"/>
        <pc:sldMkLst>
          <pc:docMk/>
          <pc:sldMk cId="3843483129" sldId="2146846793"/>
        </pc:sldMkLst>
      </pc:sldChg>
    </pc:docChg>
  </pc:docChgLst>
  <pc:docChgLst>
    <pc:chgData name="Rainer Liebhart (Nokia)" userId="9d27e965-bed7-441e-8c07-02c758a9258d" providerId="ADAL" clId="{EE73856B-AD28-4DCA-9EE3-61439DB4D4DB}"/>
    <pc:docChg chg="undo custSel delSld modSld">
      <pc:chgData name="Rainer Liebhart (Nokia)" userId="9d27e965-bed7-441e-8c07-02c758a9258d" providerId="ADAL" clId="{EE73856B-AD28-4DCA-9EE3-61439DB4D4DB}" dt="2023-03-03T09:00:23.395" v="1441"/>
      <pc:docMkLst>
        <pc:docMk/>
      </pc:docMkLst>
      <pc:sldChg chg="modSp mod">
        <pc:chgData name="Rainer Liebhart (Nokia)" userId="9d27e965-bed7-441e-8c07-02c758a9258d" providerId="ADAL" clId="{EE73856B-AD28-4DCA-9EE3-61439DB4D4DB}" dt="2023-03-03T08:49:24.932" v="1408" actId="20577"/>
        <pc:sldMkLst>
          <pc:docMk/>
          <pc:sldMk cId="136686226" sldId="2134805458"/>
        </pc:sldMkLst>
        <pc:spChg chg="mod">
          <ac:chgData name="Rainer Liebhart (Nokia)" userId="9d27e965-bed7-441e-8c07-02c758a9258d" providerId="ADAL" clId="{EE73856B-AD28-4DCA-9EE3-61439DB4D4DB}" dt="2023-03-01T14:00:54.537" v="455" actId="20577"/>
          <ac:spMkLst>
            <pc:docMk/>
            <pc:sldMk cId="136686226" sldId="2134805458"/>
            <ac:spMk id="3" creationId="{733E8E6D-C5E1-4277-9171-E65A00B3E33F}"/>
          </ac:spMkLst>
        </pc:spChg>
        <pc:spChg chg="mod">
          <ac:chgData name="Rainer Liebhart (Nokia)" userId="9d27e965-bed7-441e-8c07-02c758a9258d" providerId="ADAL" clId="{EE73856B-AD28-4DCA-9EE3-61439DB4D4DB}" dt="2023-03-03T08:49:24.932" v="1408" actId="20577"/>
          <ac:spMkLst>
            <pc:docMk/>
            <pc:sldMk cId="136686226" sldId="2134805458"/>
            <ac:spMk id="6" creationId="{2E20DBE3-132B-4E49-9B12-D7A9DE1B1D38}"/>
          </ac:spMkLst>
        </pc:spChg>
      </pc:sldChg>
      <pc:sldChg chg="modSp mod">
        <pc:chgData name="Rainer Liebhart (Nokia)" userId="9d27e965-bed7-441e-8c07-02c758a9258d" providerId="ADAL" clId="{EE73856B-AD28-4DCA-9EE3-61439DB4D4DB}" dt="2023-03-03T08:59:52.254" v="1417" actId="20577"/>
        <pc:sldMkLst>
          <pc:docMk/>
          <pc:sldMk cId="739015424" sldId="2134805526"/>
        </pc:sldMkLst>
        <pc:spChg chg="mod">
          <ac:chgData name="Rainer Liebhart (Nokia)" userId="9d27e965-bed7-441e-8c07-02c758a9258d" providerId="ADAL" clId="{EE73856B-AD28-4DCA-9EE3-61439DB4D4DB}" dt="2023-03-03T08:59:52.254" v="1417" actId="20577"/>
          <ac:spMkLst>
            <pc:docMk/>
            <pc:sldMk cId="739015424" sldId="2134805526"/>
            <ac:spMk id="6" creationId="{2E20DBE3-132B-4E49-9B12-D7A9DE1B1D38}"/>
          </ac:spMkLst>
        </pc:spChg>
        <pc:spChg chg="mod">
          <ac:chgData name="Rainer Liebhart (Nokia)" userId="9d27e965-bed7-441e-8c07-02c758a9258d" providerId="ADAL" clId="{EE73856B-AD28-4DCA-9EE3-61439DB4D4DB}" dt="2023-03-01T14:12:02.275" v="1101"/>
          <ac:spMkLst>
            <pc:docMk/>
            <pc:sldMk cId="739015424" sldId="2134805526"/>
            <ac:spMk id="10" creationId="{FB17815A-60B6-42D8-9720-6AE98A1B851D}"/>
          </ac:spMkLst>
        </pc:spChg>
      </pc:sldChg>
      <pc:sldChg chg="modSp del mod">
        <pc:chgData name="Rainer Liebhart (Nokia)" userId="9d27e965-bed7-441e-8c07-02c758a9258d" providerId="ADAL" clId="{EE73856B-AD28-4DCA-9EE3-61439DB4D4DB}" dt="2023-03-01T14:14:42.122" v="1131" actId="47"/>
        <pc:sldMkLst>
          <pc:docMk/>
          <pc:sldMk cId="355742821" sldId="2134805558"/>
        </pc:sldMkLst>
        <pc:spChg chg="mod">
          <ac:chgData name="Rainer Liebhart (Nokia)" userId="9d27e965-bed7-441e-8c07-02c758a9258d" providerId="ADAL" clId="{EE73856B-AD28-4DCA-9EE3-61439DB4D4DB}" dt="2023-03-01T14:00:02.665" v="449" actId="6549"/>
          <ac:spMkLst>
            <pc:docMk/>
            <pc:sldMk cId="355742821" sldId="2134805558"/>
            <ac:spMk id="6" creationId="{2E20DBE3-132B-4E49-9B12-D7A9DE1B1D38}"/>
          </ac:spMkLst>
        </pc:spChg>
        <pc:spChg chg="mod">
          <ac:chgData name="Rainer Liebhart (Nokia)" userId="9d27e965-bed7-441e-8c07-02c758a9258d" providerId="ADAL" clId="{EE73856B-AD28-4DCA-9EE3-61439DB4D4DB}" dt="2023-03-01T14:12:16.436" v="1102"/>
          <ac:spMkLst>
            <pc:docMk/>
            <pc:sldMk cId="355742821" sldId="2134805558"/>
            <ac:spMk id="10" creationId="{FB17815A-60B6-42D8-9720-6AE98A1B851D}"/>
          </ac:spMkLst>
        </pc:spChg>
      </pc:sldChg>
      <pc:sldChg chg="modSp del mod">
        <pc:chgData name="Rainer Liebhart (Nokia)" userId="9d27e965-bed7-441e-8c07-02c758a9258d" providerId="ADAL" clId="{EE73856B-AD28-4DCA-9EE3-61439DB4D4DB}" dt="2023-03-01T14:12:26.819" v="1104" actId="47"/>
        <pc:sldMkLst>
          <pc:docMk/>
          <pc:sldMk cId="3180949346" sldId="2134805563"/>
        </pc:sldMkLst>
        <pc:spChg chg="mod">
          <ac:chgData name="Rainer Liebhart (Nokia)" userId="9d27e965-bed7-441e-8c07-02c758a9258d" providerId="ADAL" clId="{EE73856B-AD28-4DCA-9EE3-61439DB4D4DB}" dt="2023-03-01T13:59:51.113" v="447" actId="6549"/>
          <ac:spMkLst>
            <pc:docMk/>
            <pc:sldMk cId="3180949346" sldId="2134805563"/>
            <ac:spMk id="6" creationId="{2E20DBE3-132B-4E49-9B12-D7A9DE1B1D38}"/>
          </ac:spMkLst>
        </pc:spChg>
        <pc:spChg chg="mod">
          <ac:chgData name="Rainer Liebhart (Nokia)" userId="9d27e965-bed7-441e-8c07-02c758a9258d" providerId="ADAL" clId="{EE73856B-AD28-4DCA-9EE3-61439DB4D4DB}" dt="2023-03-01T14:12:21.917" v="1103"/>
          <ac:spMkLst>
            <pc:docMk/>
            <pc:sldMk cId="3180949346" sldId="2134805563"/>
            <ac:spMk id="10" creationId="{FB17815A-60B6-42D8-9720-6AE98A1B851D}"/>
          </ac:spMkLst>
        </pc:spChg>
      </pc:sldChg>
      <pc:sldChg chg="addSp modSp mod">
        <pc:chgData name="Rainer Liebhart (Nokia)" userId="9d27e965-bed7-441e-8c07-02c758a9258d" providerId="ADAL" clId="{EE73856B-AD28-4DCA-9EE3-61439DB4D4DB}" dt="2023-03-03T09:00:23.395" v="1441"/>
        <pc:sldMkLst>
          <pc:docMk/>
          <pc:sldMk cId="2491540145" sldId="2146846976"/>
        </pc:sldMkLst>
        <pc:spChg chg="mod">
          <ac:chgData name="Rainer Liebhart (Nokia)" userId="9d27e965-bed7-441e-8c07-02c758a9258d" providerId="ADAL" clId="{EE73856B-AD28-4DCA-9EE3-61439DB4D4DB}" dt="2023-03-01T13:57:51.476" v="420"/>
          <ac:spMkLst>
            <pc:docMk/>
            <pc:sldMk cId="2491540145" sldId="2146846976"/>
            <ac:spMk id="3" creationId="{733E8E6D-C5E1-4277-9171-E65A00B3E33F}"/>
          </ac:spMkLst>
        </pc:spChg>
        <pc:spChg chg="mod">
          <ac:chgData name="Rainer Liebhart (Nokia)" userId="9d27e965-bed7-441e-8c07-02c758a9258d" providerId="ADAL" clId="{EE73856B-AD28-4DCA-9EE3-61439DB4D4DB}" dt="2023-03-03T09:00:23.395" v="1441"/>
          <ac:spMkLst>
            <pc:docMk/>
            <pc:sldMk cId="2491540145" sldId="2146846976"/>
            <ac:spMk id="6" creationId="{2E20DBE3-132B-4E49-9B12-D7A9DE1B1D38}"/>
          </ac:spMkLst>
        </pc:spChg>
        <pc:spChg chg="add mod">
          <ac:chgData name="Rainer Liebhart (Nokia)" userId="9d27e965-bed7-441e-8c07-02c758a9258d" providerId="ADAL" clId="{EE73856B-AD28-4DCA-9EE3-61439DB4D4DB}" dt="2023-03-01T13:59:35.081" v="446" actId="1076"/>
          <ac:spMkLst>
            <pc:docMk/>
            <pc:sldMk cId="2491540145" sldId="2146846976"/>
            <ac:spMk id="8" creationId="{61CA85CF-FB1E-4AE1-9705-E4980C372202}"/>
          </ac:spMkLst>
        </pc:spChg>
        <pc:graphicFrameChg chg="add mod">
          <ac:chgData name="Rainer Liebhart (Nokia)" userId="9d27e965-bed7-441e-8c07-02c758a9258d" providerId="ADAL" clId="{EE73856B-AD28-4DCA-9EE3-61439DB4D4DB}" dt="2023-03-01T14:10:47.291" v="1099" actId="1076"/>
          <ac:graphicFrameMkLst>
            <pc:docMk/>
            <pc:sldMk cId="2491540145" sldId="2146846976"/>
            <ac:graphicFrameMk id="7" creationId="{381D44CE-92E4-40A2-8D79-325DA0626409}"/>
          </ac:graphicFrameMkLst>
        </pc:graphicFrameChg>
      </pc:sldChg>
      <pc:sldChg chg="modSp mod">
        <pc:chgData name="Rainer Liebhart (Nokia)" userId="9d27e965-bed7-441e-8c07-02c758a9258d" providerId="ADAL" clId="{EE73856B-AD28-4DCA-9EE3-61439DB4D4DB}" dt="2023-03-03T08:48:44.074" v="1361" actId="27636"/>
        <pc:sldMkLst>
          <pc:docMk/>
          <pc:sldMk cId="4193739587" sldId="2146846982"/>
        </pc:sldMkLst>
        <pc:spChg chg="mod">
          <ac:chgData name="Rainer Liebhart (Nokia)" userId="9d27e965-bed7-441e-8c07-02c758a9258d" providerId="ADAL" clId="{EE73856B-AD28-4DCA-9EE3-61439DB4D4DB}" dt="2023-03-03T08:48:44.074" v="1361" actId="27636"/>
          <ac:spMkLst>
            <pc:docMk/>
            <pc:sldMk cId="4193739587" sldId="2146846982"/>
            <ac:spMk id="4" creationId="{ECE3DDB3-0401-4826-911D-DA2C7E4F7492}"/>
          </ac:spMkLst>
        </pc:spChg>
      </pc:sldChg>
      <pc:sldChg chg="modSp mod">
        <pc:chgData name="Rainer Liebhart (Nokia)" userId="9d27e965-bed7-441e-8c07-02c758a9258d" providerId="ADAL" clId="{EE73856B-AD28-4DCA-9EE3-61439DB4D4DB}" dt="2023-03-03T08:48:43.999" v="1360" actId="27636"/>
        <pc:sldMkLst>
          <pc:docMk/>
          <pc:sldMk cId="424991875" sldId="2146847013"/>
        </pc:sldMkLst>
        <pc:spChg chg="mod">
          <ac:chgData name="Rainer Liebhart (Nokia)" userId="9d27e965-bed7-441e-8c07-02c758a9258d" providerId="ADAL" clId="{EE73856B-AD28-4DCA-9EE3-61439DB4D4DB}" dt="2023-03-03T08:48:43.999" v="1360" actId="27636"/>
          <ac:spMkLst>
            <pc:docMk/>
            <pc:sldMk cId="424991875" sldId="2146847013"/>
            <ac:spMk id="4" creationId="{CD72C33D-DF40-4601-AF02-8DFD5A6EA958}"/>
          </ac:spMkLst>
        </pc:spChg>
      </pc:sldChg>
    </pc:docChg>
  </pc:docChgLst>
  <pc:docChgLst>
    <pc:chgData name="Yannick Lair (Nokia)" userId="e0601b81-de45-4b0d-b7c3-b06e9080ce2c" providerId="ADAL" clId="{1A337C41-3131-4C6F-92FE-6CF93D1F1A79}"/>
    <pc:docChg chg="custSel addSld delSld modSld">
      <pc:chgData name="Yannick Lair (Nokia)" userId="e0601b81-de45-4b0d-b7c3-b06e9080ce2c" providerId="ADAL" clId="{1A337C41-3131-4C6F-92FE-6CF93D1F1A79}" dt="2022-11-30T10:04:28.801" v="110" actId="478"/>
      <pc:docMkLst>
        <pc:docMk/>
      </pc:docMkLst>
      <pc:sldChg chg="del">
        <pc:chgData name="Yannick Lair (Nokia)" userId="e0601b81-de45-4b0d-b7c3-b06e9080ce2c" providerId="ADAL" clId="{1A337C41-3131-4C6F-92FE-6CF93D1F1A79}" dt="2022-11-30T10:04:23.660" v="108" actId="47"/>
        <pc:sldMkLst>
          <pc:docMk/>
          <pc:sldMk cId="3007859491" sldId="2134805595"/>
        </pc:sldMkLst>
      </pc:sldChg>
      <pc:sldChg chg="delSp add mod">
        <pc:chgData name="Yannick Lair (Nokia)" userId="e0601b81-de45-4b0d-b7c3-b06e9080ce2c" providerId="ADAL" clId="{1A337C41-3131-4C6F-92FE-6CF93D1F1A79}" dt="2022-11-30T10:04:28.801" v="110" actId="478"/>
        <pc:sldMkLst>
          <pc:docMk/>
          <pc:sldMk cId="931407385" sldId="2134805677"/>
        </pc:sldMkLst>
        <pc:spChg chg="del">
          <ac:chgData name="Yannick Lair (Nokia)" userId="e0601b81-de45-4b0d-b7c3-b06e9080ce2c" providerId="ADAL" clId="{1A337C41-3131-4C6F-92FE-6CF93D1F1A79}" dt="2022-11-30T10:04:28.801" v="110" actId="478"/>
          <ac:spMkLst>
            <pc:docMk/>
            <pc:sldMk cId="931407385" sldId="2134805677"/>
            <ac:spMk id="8" creationId="{066985AD-3DBF-4170-9A07-C7B1113D5041}"/>
          </ac:spMkLst>
        </pc:spChg>
      </pc:sldChg>
      <pc:sldChg chg="delSp modSp add mod">
        <pc:chgData name="Yannick Lair (Nokia)" userId="e0601b81-de45-4b0d-b7c3-b06e9080ce2c" providerId="ADAL" clId="{1A337C41-3131-4C6F-92FE-6CF93D1F1A79}" dt="2022-11-30T10:04:19.397" v="106" actId="478"/>
        <pc:sldMkLst>
          <pc:docMk/>
          <pc:sldMk cId="990824371" sldId="2134805685"/>
        </pc:sldMkLst>
        <pc:spChg chg="del">
          <ac:chgData name="Yannick Lair (Nokia)" userId="e0601b81-de45-4b0d-b7c3-b06e9080ce2c" providerId="ADAL" clId="{1A337C41-3131-4C6F-92FE-6CF93D1F1A79}" dt="2022-11-30T10:04:19.397" v="106" actId="478"/>
          <ac:spMkLst>
            <pc:docMk/>
            <pc:sldMk cId="990824371" sldId="2134805685"/>
            <ac:spMk id="2" creationId="{0725F15D-B53C-7BBA-8B46-5FAE8B088903}"/>
          </ac:spMkLst>
        </pc:spChg>
        <pc:spChg chg="mod">
          <ac:chgData name="Yannick Lair (Nokia)" userId="e0601b81-de45-4b0d-b7c3-b06e9080ce2c" providerId="ADAL" clId="{1A337C41-3131-4C6F-92FE-6CF93D1F1A79}" dt="2022-11-30T10:04:12.323" v="105" actId="13926"/>
          <ac:spMkLst>
            <pc:docMk/>
            <pc:sldMk cId="990824371" sldId="2134805685"/>
            <ac:spMk id="4" creationId="{CD72C33D-DF40-4601-AF02-8DFD5A6EA958}"/>
          </ac:spMkLst>
        </pc:spChg>
      </pc:sldChg>
      <pc:sldChg chg="delSp add mod">
        <pc:chgData name="Yannick Lair (Nokia)" userId="e0601b81-de45-4b0d-b7c3-b06e9080ce2c" providerId="ADAL" clId="{1A337C41-3131-4C6F-92FE-6CF93D1F1A79}" dt="2022-11-30T10:04:21.628" v="107" actId="478"/>
        <pc:sldMkLst>
          <pc:docMk/>
          <pc:sldMk cId="614545562" sldId="2134805686"/>
        </pc:sldMkLst>
        <pc:spChg chg="del">
          <ac:chgData name="Yannick Lair (Nokia)" userId="e0601b81-de45-4b0d-b7c3-b06e9080ce2c" providerId="ADAL" clId="{1A337C41-3131-4C6F-92FE-6CF93D1F1A79}" dt="2022-11-30T10:04:21.628" v="107" actId="478"/>
          <ac:spMkLst>
            <pc:docMk/>
            <pc:sldMk cId="614545562" sldId="2134805686"/>
            <ac:spMk id="2" creationId="{0725F15D-B53C-7BBA-8B46-5FAE8B088903}"/>
          </ac:spMkLst>
        </pc:spChg>
      </pc:sldChg>
      <pc:sldChg chg="del">
        <pc:chgData name="Yannick Lair (Nokia)" userId="e0601b81-de45-4b0d-b7c3-b06e9080ce2c" providerId="ADAL" clId="{1A337C41-3131-4C6F-92FE-6CF93D1F1A79}" dt="2022-11-30T10:04:24.579" v="109" actId="47"/>
        <pc:sldMkLst>
          <pc:docMk/>
          <pc:sldMk cId="3987212606" sldId="2146846936"/>
        </pc:sldMkLst>
      </pc:sldChg>
      <pc:sldChg chg="delSp modSp add mod">
        <pc:chgData name="Yannick Lair (Nokia)" userId="e0601b81-de45-4b0d-b7c3-b06e9080ce2c" providerId="ADAL" clId="{1A337C41-3131-4C6F-92FE-6CF93D1F1A79}" dt="2022-11-30T10:01:00.265" v="103" actId="478"/>
        <pc:sldMkLst>
          <pc:docMk/>
          <pc:sldMk cId="2215845275" sldId="2146846956"/>
        </pc:sldMkLst>
        <pc:spChg chg="del">
          <ac:chgData name="Yannick Lair (Nokia)" userId="e0601b81-de45-4b0d-b7c3-b06e9080ce2c" providerId="ADAL" clId="{1A337C41-3131-4C6F-92FE-6CF93D1F1A79}" dt="2022-11-30T10:01:00.265" v="103" actId="478"/>
          <ac:spMkLst>
            <pc:docMk/>
            <pc:sldMk cId="2215845275" sldId="2146846956"/>
            <ac:spMk id="7" creationId="{549839A6-74B7-4FBB-BE42-38F844A55F8E}"/>
          </ac:spMkLst>
        </pc:spChg>
        <pc:graphicFrameChg chg="mod modGraphic">
          <ac:chgData name="Yannick Lair (Nokia)" userId="e0601b81-de45-4b0d-b7c3-b06e9080ce2c" providerId="ADAL" clId="{1A337C41-3131-4C6F-92FE-6CF93D1F1A79}" dt="2022-11-30T10:00:57.512" v="102" actId="14734"/>
          <ac:graphicFrameMkLst>
            <pc:docMk/>
            <pc:sldMk cId="2215845275" sldId="2146846956"/>
            <ac:graphicFrameMk id="5" creationId="{72292819-8568-4BDF-9D17-E4BA66E2B6E4}"/>
          </ac:graphicFrameMkLst>
        </pc:graphicFrameChg>
      </pc:sldChg>
    </pc:docChg>
  </pc:docChgLst>
  <pc:docChgLst>
    <pc:chgData name="Simon Cai (NSB)" userId="37152ebf-cb41-4a71-820f-4428dc623117" providerId="ADAL" clId="{3A75871F-E1EA-4C5D-9E0C-FC09F0A5BF59}"/>
    <pc:docChg chg="undo custSel addSld delSld modSld delMainMaster">
      <pc:chgData name="Simon Cai (NSB)" userId="37152ebf-cb41-4a71-820f-4428dc623117" providerId="ADAL" clId="{3A75871F-E1EA-4C5D-9E0C-FC09F0A5BF59}" dt="2023-03-06T11:05:26.107" v="358" actId="255"/>
      <pc:docMkLst>
        <pc:docMk/>
      </pc:docMkLst>
      <pc:sldChg chg="del">
        <pc:chgData name="Simon Cai (NSB)" userId="37152ebf-cb41-4a71-820f-4428dc623117" providerId="ADAL" clId="{3A75871F-E1EA-4C5D-9E0C-FC09F0A5BF59}" dt="2023-03-06T09:32:29.765" v="37" actId="47"/>
        <pc:sldMkLst>
          <pc:docMk/>
          <pc:sldMk cId="157715270" sldId="2146846978"/>
        </pc:sldMkLst>
      </pc:sldChg>
      <pc:sldChg chg="del">
        <pc:chgData name="Simon Cai (NSB)" userId="37152ebf-cb41-4a71-820f-4428dc623117" providerId="ADAL" clId="{3A75871F-E1EA-4C5D-9E0C-FC09F0A5BF59}" dt="2023-03-06T09:32:29.064" v="36" actId="47"/>
        <pc:sldMkLst>
          <pc:docMk/>
          <pc:sldMk cId="609619706" sldId="2146846979"/>
        </pc:sldMkLst>
      </pc:sldChg>
      <pc:sldChg chg="del">
        <pc:chgData name="Simon Cai (NSB)" userId="37152ebf-cb41-4a71-820f-4428dc623117" providerId="ADAL" clId="{3A75871F-E1EA-4C5D-9E0C-FC09F0A5BF59}" dt="2023-03-06T08:39:54.372" v="34" actId="2696"/>
        <pc:sldMkLst>
          <pc:docMk/>
          <pc:sldMk cId="748166896" sldId="2146846980"/>
        </pc:sldMkLst>
      </pc:sldChg>
      <pc:sldChg chg="del">
        <pc:chgData name="Simon Cai (NSB)" userId="37152ebf-cb41-4a71-820f-4428dc623117" providerId="ADAL" clId="{3A75871F-E1EA-4C5D-9E0C-FC09F0A5BF59}" dt="2023-03-06T09:32:32.653" v="39" actId="47"/>
        <pc:sldMkLst>
          <pc:docMk/>
          <pc:sldMk cId="3954131026" sldId="2146846981"/>
        </pc:sldMkLst>
      </pc:sldChg>
      <pc:sldChg chg="del">
        <pc:chgData name="Simon Cai (NSB)" userId="37152ebf-cb41-4a71-820f-4428dc623117" providerId="ADAL" clId="{3A75871F-E1EA-4C5D-9E0C-FC09F0A5BF59}" dt="2023-03-06T09:32:33.158" v="40" actId="47"/>
        <pc:sldMkLst>
          <pc:docMk/>
          <pc:sldMk cId="4193739587" sldId="2146846982"/>
        </pc:sldMkLst>
      </pc:sldChg>
      <pc:sldChg chg="del">
        <pc:chgData name="Simon Cai (NSB)" userId="37152ebf-cb41-4a71-820f-4428dc623117" providerId="ADAL" clId="{3A75871F-E1EA-4C5D-9E0C-FC09F0A5BF59}" dt="2023-03-06T09:32:34.029" v="41" actId="47"/>
        <pc:sldMkLst>
          <pc:docMk/>
          <pc:sldMk cId="4151192387" sldId="2146846983"/>
        </pc:sldMkLst>
      </pc:sldChg>
      <pc:sldChg chg="del">
        <pc:chgData name="Simon Cai (NSB)" userId="37152ebf-cb41-4a71-820f-4428dc623117" providerId="ADAL" clId="{3A75871F-E1EA-4C5D-9E0C-FC09F0A5BF59}" dt="2023-03-06T09:53:56.827" v="145" actId="47"/>
        <pc:sldMkLst>
          <pc:docMk/>
          <pc:sldMk cId="661313128" sldId="2146846984"/>
        </pc:sldMkLst>
      </pc:sldChg>
      <pc:sldChg chg="del">
        <pc:chgData name="Simon Cai (NSB)" userId="37152ebf-cb41-4a71-820f-4428dc623117" providerId="ADAL" clId="{3A75871F-E1EA-4C5D-9E0C-FC09F0A5BF59}" dt="2023-03-06T09:32:32.053" v="38" actId="47"/>
        <pc:sldMkLst>
          <pc:docMk/>
          <pc:sldMk cId="3436564993" sldId="2146846985"/>
        </pc:sldMkLst>
      </pc:sldChg>
      <pc:sldChg chg="new del">
        <pc:chgData name="Simon Cai (NSB)" userId="37152ebf-cb41-4a71-820f-4428dc623117" providerId="ADAL" clId="{3A75871F-E1EA-4C5D-9E0C-FC09F0A5BF59}" dt="2023-03-06T08:39:24.726" v="1" actId="680"/>
        <pc:sldMkLst>
          <pc:docMk/>
          <pc:sldMk cId="2714682691" sldId="2146847020"/>
        </pc:sldMkLst>
      </pc:sldChg>
      <pc:sldChg chg="modSp new mod">
        <pc:chgData name="Simon Cai (NSB)" userId="37152ebf-cb41-4a71-820f-4428dc623117" providerId="ADAL" clId="{3A75871F-E1EA-4C5D-9E0C-FC09F0A5BF59}" dt="2023-03-06T09:47:21.379" v="43"/>
        <pc:sldMkLst>
          <pc:docMk/>
          <pc:sldMk cId="4141059211" sldId="2146847020"/>
        </pc:sldMkLst>
        <pc:spChg chg="mod">
          <ac:chgData name="Simon Cai (NSB)" userId="37152ebf-cb41-4a71-820f-4428dc623117" providerId="ADAL" clId="{3A75871F-E1EA-4C5D-9E0C-FC09F0A5BF59}" dt="2023-03-06T08:39:51.760" v="33" actId="20577"/>
          <ac:spMkLst>
            <pc:docMk/>
            <pc:sldMk cId="4141059211" sldId="2146847020"/>
            <ac:spMk id="3" creationId="{C8BBBD2C-AC5A-452E-9BBA-F19E2B1CEC15}"/>
          </ac:spMkLst>
        </pc:spChg>
        <pc:spChg chg="mod">
          <ac:chgData name="Simon Cai (NSB)" userId="37152ebf-cb41-4a71-820f-4428dc623117" providerId="ADAL" clId="{3A75871F-E1EA-4C5D-9E0C-FC09F0A5BF59}" dt="2023-03-06T09:47:21.379" v="43"/>
          <ac:spMkLst>
            <pc:docMk/>
            <pc:sldMk cId="4141059211" sldId="2146847020"/>
            <ac:spMk id="4" creationId="{396B0782-F18E-4E98-A575-F131B46B01E3}"/>
          </ac:spMkLst>
        </pc:spChg>
      </pc:sldChg>
      <pc:sldChg chg="modSp new mod">
        <pc:chgData name="Simon Cai (NSB)" userId="37152ebf-cb41-4a71-820f-4428dc623117" providerId="ADAL" clId="{3A75871F-E1EA-4C5D-9E0C-FC09F0A5BF59}" dt="2023-03-06T09:51:30.317" v="60" actId="20577"/>
        <pc:sldMkLst>
          <pc:docMk/>
          <pc:sldMk cId="81979083" sldId="2146847021"/>
        </pc:sldMkLst>
        <pc:spChg chg="mod">
          <ac:chgData name="Simon Cai (NSB)" userId="37152ebf-cb41-4a71-820f-4428dc623117" providerId="ADAL" clId="{3A75871F-E1EA-4C5D-9E0C-FC09F0A5BF59}" dt="2023-03-06T09:47:47.683" v="47" actId="20577"/>
          <ac:spMkLst>
            <pc:docMk/>
            <pc:sldMk cId="81979083" sldId="2146847021"/>
            <ac:spMk id="3" creationId="{998B2F56-821D-4930-A5A0-ABA1B93701EE}"/>
          </ac:spMkLst>
        </pc:spChg>
        <pc:spChg chg="mod">
          <ac:chgData name="Simon Cai (NSB)" userId="37152ebf-cb41-4a71-820f-4428dc623117" providerId="ADAL" clId="{3A75871F-E1EA-4C5D-9E0C-FC09F0A5BF59}" dt="2023-03-06T09:51:30.317" v="60" actId="20577"/>
          <ac:spMkLst>
            <pc:docMk/>
            <pc:sldMk cId="81979083" sldId="2146847021"/>
            <ac:spMk id="4" creationId="{0EC08496-7DA9-4932-801E-4955BD0660B2}"/>
          </ac:spMkLst>
        </pc:spChg>
      </pc:sldChg>
      <pc:sldChg chg="addSp delSp modSp new mod">
        <pc:chgData name="Simon Cai (NSB)" userId="37152ebf-cb41-4a71-820f-4428dc623117" providerId="ADAL" clId="{3A75871F-E1EA-4C5D-9E0C-FC09F0A5BF59}" dt="2023-03-06T09:52:25.053" v="125" actId="14100"/>
        <pc:sldMkLst>
          <pc:docMk/>
          <pc:sldMk cId="4001887586" sldId="2146847022"/>
        </pc:sldMkLst>
        <pc:spChg chg="del">
          <ac:chgData name="Simon Cai (NSB)" userId="37152ebf-cb41-4a71-820f-4428dc623117" providerId="ADAL" clId="{3A75871F-E1EA-4C5D-9E0C-FC09F0A5BF59}" dt="2023-03-06T09:52:20.469" v="123" actId="478"/>
          <ac:spMkLst>
            <pc:docMk/>
            <pc:sldMk cId="4001887586" sldId="2146847022"/>
            <ac:spMk id="2" creationId="{5B64264B-BA44-48CB-98F5-796157C4C756}"/>
          </ac:spMkLst>
        </pc:spChg>
        <pc:spChg chg="mod">
          <ac:chgData name="Simon Cai (NSB)" userId="37152ebf-cb41-4a71-820f-4428dc623117" providerId="ADAL" clId="{3A75871F-E1EA-4C5D-9E0C-FC09F0A5BF59}" dt="2023-03-06T09:51:56.462" v="116" actId="20577"/>
          <ac:spMkLst>
            <pc:docMk/>
            <pc:sldMk cId="4001887586" sldId="2146847022"/>
            <ac:spMk id="3" creationId="{F97EE640-594A-44AD-B297-4CCA07D6EA06}"/>
          </ac:spMkLst>
        </pc:spChg>
        <pc:spChg chg="del">
          <ac:chgData name="Simon Cai (NSB)" userId="37152ebf-cb41-4a71-820f-4428dc623117" providerId="ADAL" clId="{3A75871F-E1EA-4C5D-9E0C-FC09F0A5BF59}" dt="2023-03-06T09:52:11.217" v="117" actId="478"/>
          <ac:spMkLst>
            <pc:docMk/>
            <pc:sldMk cId="4001887586" sldId="2146847022"/>
            <ac:spMk id="4" creationId="{A2012600-AEB4-4C11-B653-2FFE232C6BE9}"/>
          </ac:spMkLst>
        </pc:spChg>
        <pc:spChg chg="add mod">
          <ac:chgData name="Simon Cai (NSB)" userId="37152ebf-cb41-4a71-820f-4428dc623117" providerId="ADAL" clId="{3A75871F-E1EA-4C5D-9E0C-FC09F0A5BF59}" dt="2023-03-06T09:52:17.344" v="122" actId="14100"/>
          <ac:spMkLst>
            <pc:docMk/>
            <pc:sldMk cId="4001887586" sldId="2146847022"/>
            <ac:spMk id="5" creationId="{49550023-80C0-44ED-B665-1AD3867B481C}"/>
          </ac:spMkLst>
        </pc:spChg>
        <pc:graphicFrameChg chg="add mod">
          <ac:chgData name="Simon Cai (NSB)" userId="37152ebf-cb41-4a71-820f-4428dc623117" providerId="ADAL" clId="{3A75871F-E1EA-4C5D-9E0C-FC09F0A5BF59}" dt="2023-03-06T09:52:25.053" v="125" actId="14100"/>
          <ac:graphicFrameMkLst>
            <pc:docMk/>
            <pc:sldMk cId="4001887586" sldId="2146847022"/>
            <ac:graphicFrameMk id="6" creationId="{8C526884-7B66-47CB-B92F-FFEF3A2F78B6}"/>
          </ac:graphicFrameMkLst>
        </pc:graphicFrameChg>
      </pc:sldChg>
      <pc:sldChg chg="modSp new mod">
        <pc:chgData name="Simon Cai (NSB)" userId="37152ebf-cb41-4a71-820f-4428dc623117" providerId="ADAL" clId="{3A75871F-E1EA-4C5D-9E0C-FC09F0A5BF59}" dt="2023-03-06T09:53:06.198" v="134" actId="12"/>
        <pc:sldMkLst>
          <pc:docMk/>
          <pc:sldMk cId="3747344476" sldId="2146847023"/>
        </pc:sldMkLst>
        <pc:spChg chg="mod">
          <ac:chgData name="Simon Cai (NSB)" userId="37152ebf-cb41-4a71-820f-4428dc623117" providerId="ADAL" clId="{3A75871F-E1EA-4C5D-9E0C-FC09F0A5BF59}" dt="2023-03-06T09:52:46.026" v="129" actId="20577"/>
          <ac:spMkLst>
            <pc:docMk/>
            <pc:sldMk cId="3747344476" sldId="2146847023"/>
            <ac:spMk id="3" creationId="{9CEC406E-BB35-4ABA-B81C-6A4EA776C082}"/>
          </ac:spMkLst>
        </pc:spChg>
        <pc:spChg chg="mod">
          <ac:chgData name="Simon Cai (NSB)" userId="37152ebf-cb41-4a71-820f-4428dc623117" providerId="ADAL" clId="{3A75871F-E1EA-4C5D-9E0C-FC09F0A5BF59}" dt="2023-03-06T09:53:06.198" v="134" actId="12"/>
          <ac:spMkLst>
            <pc:docMk/>
            <pc:sldMk cId="3747344476" sldId="2146847023"/>
            <ac:spMk id="4" creationId="{165A61F3-D648-417D-A333-B56885FB6D2B}"/>
          </ac:spMkLst>
        </pc:spChg>
      </pc:sldChg>
      <pc:sldChg chg="modSp new mod">
        <pc:chgData name="Simon Cai (NSB)" userId="37152ebf-cb41-4a71-820f-4428dc623117" providerId="ADAL" clId="{3A75871F-E1EA-4C5D-9E0C-FC09F0A5BF59}" dt="2023-03-06T09:53:50.639" v="144" actId="12"/>
        <pc:sldMkLst>
          <pc:docMk/>
          <pc:sldMk cId="1325044518" sldId="2146847024"/>
        </pc:sldMkLst>
        <pc:spChg chg="mod">
          <ac:chgData name="Simon Cai (NSB)" userId="37152ebf-cb41-4a71-820f-4428dc623117" providerId="ADAL" clId="{3A75871F-E1EA-4C5D-9E0C-FC09F0A5BF59}" dt="2023-03-06T09:53:29.116" v="138" actId="20577"/>
          <ac:spMkLst>
            <pc:docMk/>
            <pc:sldMk cId="1325044518" sldId="2146847024"/>
            <ac:spMk id="3" creationId="{5BF70F77-0F22-4212-90BD-94DB2DC91FFB}"/>
          </ac:spMkLst>
        </pc:spChg>
        <pc:spChg chg="mod">
          <ac:chgData name="Simon Cai (NSB)" userId="37152ebf-cb41-4a71-820f-4428dc623117" providerId="ADAL" clId="{3A75871F-E1EA-4C5D-9E0C-FC09F0A5BF59}" dt="2023-03-06T09:53:50.639" v="144" actId="12"/>
          <ac:spMkLst>
            <pc:docMk/>
            <pc:sldMk cId="1325044518" sldId="2146847024"/>
            <ac:spMk id="4" creationId="{B3052676-9598-4F9F-B787-1FA1648A54B2}"/>
          </ac:spMkLst>
        </pc:spChg>
      </pc:sldChg>
      <pc:sldChg chg="addSp delSp modSp new mod">
        <pc:chgData name="Simon Cai (NSB)" userId="37152ebf-cb41-4a71-820f-4428dc623117" providerId="ADAL" clId="{3A75871F-E1EA-4C5D-9E0C-FC09F0A5BF59}" dt="2023-03-06T10:04:34.632" v="168" actId="1076"/>
        <pc:sldMkLst>
          <pc:docMk/>
          <pc:sldMk cId="3416191484" sldId="2146847025"/>
        </pc:sldMkLst>
        <pc:spChg chg="mod">
          <ac:chgData name="Simon Cai (NSB)" userId="37152ebf-cb41-4a71-820f-4428dc623117" providerId="ADAL" clId="{3A75871F-E1EA-4C5D-9E0C-FC09F0A5BF59}" dt="2023-03-06T09:56:55.991" v="165" actId="20577"/>
          <ac:spMkLst>
            <pc:docMk/>
            <pc:sldMk cId="3416191484" sldId="2146847025"/>
            <ac:spMk id="2" creationId="{C8250BEB-8CF5-4A82-A38A-B0FF477D5348}"/>
          </ac:spMkLst>
        </pc:spChg>
        <pc:spChg chg="mod">
          <ac:chgData name="Simon Cai (NSB)" userId="37152ebf-cb41-4a71-820f-4428dc623117" providerId="ADAL" clId="{3A75871F-E1EA-4C5D-9E0C-FC09F0A5BF59}" dt="2023-03-06T09:54:26.196" v="149" actId="20577"/>
          <ac:spMkLst>
            <pc:docMk/>
            <pc:sldMk cId="3416191484" sldId="2146847025"/>
            <ac:spMk id="3" creationId="{4770A138-097B-46CC-AB73-78FC650A32E3}"/>
          </ac:spMkLst>
        </pc:spChg>
        <pc:spChg chg="del mod">
          <ac:chgData name="Simon Cai (NSB)" userId="37152ebf-cb41-4a71-820f-4428dc623117" providerId="ADAL" clId="{3A75871F-E1EA-4C5D-9E0C-FC09F0A5BF59}" dt="2023-03-06T09:56:58.413" v="166" actId="478"/>
          <ac:spMkLst>
            <pc:docMk/>
            <pc:sldMk cId="3416191484" sldId="2146847025"/>
            <ac:spMk id="4" creationId="{3AB974B7-A4E9-424E-AF65-6D297B272823}"/>
          </ac:spMkLst>
        </pc:spChg>
        <pc:spChg chg="add mod">
          <ac:chgData name="Simon Cai (NSB)" userId="37152ebf-cb41-4a71-820f-4428dc623117" providerId="ADAL" clId="{3A75871F-E1EA-4C5D-9E0C-FC09F0A5BF59}" dt="2023-03-06T10:04:34.632" v="168" actId="1076"/>
          <ac:spMkLst>
            <pc:docMk/>
            <pc:sldMk cId="3416191484" sldId="2146847025"/>
            <ac:spMk id="5" creationId="{CF0A13E1-94DB-4543-9D56-942A5A2187BD}"/>
          </ac:spMkLst>
        </pc:spChg>
        <pc:graphicFrameChg chg="add mod">
          <ac:chgData name="Simon Cai (NSB)" userId="37152ebf-cb41-4a71-820f-4428dc623117" providerId="ADAL" clId="{3A75871F-E1EA-4C5D-9E0C-FC09F0A5BF59}" dt="2023-03-06T10:04:34.632" v="168" actId="1076"/>
          <ac:graphicFrameMkLst>
            <pc:docMk/>
            <pc:sldMk cId="3416191484" sldId="2146847025"/>
            <ac:graphicFrameMk id="6" creationId="{94D83A39-1744-4050-9ED0-D8E7E6F6B168}"/>
          </ac:graphicFrameMkLst>
        </pc:graphicFrameChg>
      </pc:sldChg>
      <pc:sldChg chg="modSp new mod">
        <pc:chgData name="Simon Cai (NSB)" userId="37152ebf-cb41-4a71-820f-4428dc623117" providerId="ADAL" clId="{3A75871F-E1EA-4C5D-9E0C-FC09F0A5BF59}" dt="2023-03-06T11:05:26.107" v="358" actId="255"/>
        <pc:sldMkLst>
          <pc:docMk/>
          <pc:sldMk cId="841561110" sldId="2146847027"/>
        </pc:sldMkLst>
        <pc:spChg chg="mod">
          <ac:chgData name="Simon Cai (NSB)" userId="37152ebf-cb41-4a71-820f-4428dc623117" providerId="ADAL" clId="{3A75871F-E1EA-4C5D-9E0C-FC09F0A5BF59}" dt="2023-03-06T10:59:30.389" v="184" actId="20577"/>
          <ac:spMkLst>
            <pc:docMk/>
            <pc:sldMk cId="841561110" sldId="2146847027"/>
            <ac:spMk id="3" creationId="{D0FAD167-03FD-47AE-83B7-7476DCC3ECB1}"/>
          </ac:spMkLst>
        </pc:spChg>
        <pc:spChg chg="mod">
          <ac:chgData name="Simon Cai (NSB)" userId="37152ebf-cb41-4a71-820f-4428dc623117" providerId="ADAL" clId="{3A75871F-E1EA-4C5D-9E0C-FC09F0A5BF59}" dt="2023-03-06T11:05:26.107" v="358" actId="255"/>
          <ac:spMkLst>
            <pc:docMk/>
            <pc:sldMk cId="841561110" sldId="2146847027"/>
            <ac:spMk id="4" creationId="{4EF1D8F0-DCA3-4C5E-A058-17E5A26C12B1}"/>
          </ac:spMkLst>
        </pc:spChg>
      </pc:sldChg>
      <pc:sldMasterChg chg="del delSldLayout">
        <pc:chgData name="Simon Cai (NSB)" userId="37152ebf-cb41-4a71-820f-4428dc623117" providerId="ADAL" clId="{3A75871F-E1EA-4C5D-9E0C-FC09F0A5BF59}" dt="2023-03-06T09:32:29.765" v="37" actId="47"/>
        <pc:sldMasterMkLst>
          <pc:docMk/>
          <pc:sldMasterMk cId="0" sldId="2147483729"/>
        </pc:sldMasterMkLst>
        <pc:sldLayoutChg chg="del">
          <pc:chgData name="Simon Cai (NSB)" userId="37152ebf-cb41-4a71-820f-4428dc623117" providerId="ADAL" clId="{3A75871F-E1EA-4C5D-9E0C-FC09F0A5BF59}" dt="2023-03-06T09:32:29.765" v="37" actId="47"/>
          <pc:sldLayoutMkLst>
            <pc:docMk/>
            <pc:sldMasterMk cId="0" sldId="2147483729"/>
            <pc:sldLayoutMk cId="302977723" sldId="2147483769"/>
          </pc:sldLayoutMkLst>
        </pc:sldLayoutChg>
      </pc:sldMasterChg>
    </pc:docChg>
  </pc:docChgLst>
  <pc:docChgLst>
    <pc:chgData name="Thomas Belling (Nokia)" userId="38e53bf5-7a59-41ec-8bf1-bf611b810166" providerId="ADAL" clId="{2CD47BF3-ABD8-45FD-8434-598C5D6FC3BD}"/>
    <pc:docChg chg="undo custSel modSld">
      <pc:chgData name="Thomas Belling (Nokia)" userId="38e53bf5-7a59-41ec-8bf1-bf611b810166" providerId="ADAL" clId="{2CD47BF3-ABD8-45FD-8434-598C5D6FC3BD}" dt="2022-12-02T17:07:34.924" v="502" actId="20577"/>
      <pc:docMkLst>
        <pc:docMk/>
      </pc:docMkLst>
      <pc:sldChg chg="modSp mod">
        <pc:chgData name="Thomas Belling (Nokia)" userId="38e53bf5-7a59-41ec-8bf1-bf611b810166" providerId="ADAL" clId="{2CD47BF3-ABD8-45FD-8434-598C5D6FC3BD}" dt="2022-12-02T16:41:56.882" v="234" actId="207"/>
        <pc:sldMkLst>
          <pc:docMk/>
          <pc:sldMk cId="3854435541" sldId="2146846908"/>
        </pc:sldMkLst>
        <pc:spChg chg="mod">
          <ac:chgData name="Thomas Belling (Nokia)" userId="38e53bf5-7a59-41ec-8bf1-bf611b810166" providerId="ADAL" clId="{2CD47BF3-ABD8-45FD-8434-598C5D6FC3BD}" dt="2022-12-02T16:41:56.882" v="234" actId="207"/>
          <ac:spMkLst>
            <pc:docMk/>
            <pc:sldMk cId="3854435541" sldId="2146846908"/>
            <ac:spMk id="2" creationId="{828AE646-029C-43F1-BE54-1B04A2DEF02D}"/>
          </ac:spMkLst>
        </pc:spChg>
      </pc:sldChg>
      <pc:sldChg chg="modSp mod">
        <pc:chgData name="Thomas Belling (Nokia)" userId="38e53bf5-7a59-41ec-8bf1-bf611b810166" providerId="ADAL" clId="{2CD47BF3-ABD8-45FD-8434-598C5D6FC3BD}" dt="2022-12-02T17:07:34.924" v="502" actId="20577"/>
        <pc:sldMkLst>
          <pc:docMk/>
          <pc:sldMk cId="945775949" sldId="2146846918"/>
        </pc:sldMkLst>
        <pc:spChg chg="mod">
          <ac:chgData name="Thomas Belling (Nokia)" userId="38e53bf5-7a59-41ec-8bf1-bf611b810166" providerId="ADAL" clId="{2CD47BF3-ABD8-45FD-8434-598C5D6FC3BD}" dt="2022-12-02T17:07:06.396" v="475" actId="20577"/>
          <ac:spMkLst>
            <pc:docMk/>
            <pc:sldMk cId="945775949" sldId="2146846918"/>
            <ac:spMk id="4" creationId="{BD612997-8F8D-4939-8023-9B09970813F4}"/>
          </ac:spMkLst>
        </pc:spChg>
        <pc:spChg chg="mod">
          <ac:chgData name="Thomas Belling (Nokia)" userId="38e53bf5-7a59-41ec-8bf1-bf611b810166" providerId="ADAL" clId="{2CD47BF3-ABD8-45FD-8434-598C5D6FC3BD}" dt="2022-12-02T17:07:34.924" v="502" actId="20577"/>
          <ac:spMkLst>
            <pc:docMk/>
            <pc:sldMk cId="945775949" sldId="2146846918"/>
            <ac:spMk id="5" creationId="{0A813F0E-7224-42E6-A359-B5A9B05FEE7A}"/>
          </ac:spMkLst>
        </pc:spChg>
      </pc:sldChg>
      <pc:sldChg chg="modSp mod">
        <pc:chgData name="Thomas Belling (Nokia)" userId="38e53bf5-7a59-41ec-8bf1-bf611b810166" providerId="ADAL" clId="{2CD47BF3-ABD8-45FD-8434-598C5D6FC3BD}" dt="2022-12-02T16:38:44.455" v="229" actId="20577"/>
        <pc:sldMkLst>
          <pc:docMk/>
          <pc:sldMk cId="4241780383" sldId="2146846932"/>
        </pc:sldMkLst>
        <pc:spChg chg="mod">
          <ac:chgData name="Thomas Belling (Nokia)" userId="38e53bf5-7a59-41ec-8bf1-bf611b810166" providerId="ADAL" clId="{2CD47BF3-ABD8-45FD-8434-598C5D6FC3BD}" dt="2022-12-02T16:37:11.702" v="228" actId="20577"/>
          <ac:spMkLst>
            <pc:docMk/>
            <pc:sldMk cId="4241780383" sldId="2146846932"/>
            <ac:spMk id="4" creationId="{CD72C33D-DF40-4601-AF02-8DFD5A6EA958}"/>
          </ac:spMkLst>
        </pc:spChg>
        <pc:graphicFrameChg chg="modGraphic">
          <ac:chgData name="Thomas Belling (Nokia)" userId="38e53bf5-7a59-41ec-8bf1-bf611b810166" providerId="ADAL" clId="{2CD47BF3-ABD8-45FD-8434-598C5D6FC3BD}" dt="2022-12-02T16:38:44.455" v="229" actId="20577"/>
          <ac:graphicFrameMkLst>
            <pc:docMk/>
            <pc:sldMk cId="4241780383" sldId="2146846932"/>
            <ac:graphicFrameMk id="5" creationId="{147F1A6A-0E16-4C84-8E82-5039900CDD75}"/>
          </ac:graphicFrameMkLst>
        </pc:graphicFrameChg>
      </pc:sldChg>
      <pc:sldChg chg="addSp modSp mod">
        <pc:chgData name="Thomas Belling (Nokia)" userId="38e53bf5-7a59-41ec-8bf1-bf611b810166" providerId="ADAL" clId="{2CD47BF3-ABD8-45FD-8434-598C5D6FC3BD}" dt="2022-12-02T16:32:37.982" v="102" actId="1038"/>
        <pc:sldMkLst>
          <pc:docMk/>
          <pc:sldMk cId="1913528199" sldId="2146846934"/>
        </pc:sldMkLst>
        <pc:spChg chg="add mod">
          <ac:chgData name="Thomas Belling (Nokia)" userId="38e53bf5-7a59-41ec-8bf1-bf611b810166" providerId="ADAL" clId="{2CD47BF3-ABD8-45FD-8434-598C5D6FC3BD}" dt="2022-12-02T16:32:13.970" v="48" actId="1037"/>
          <ac:spMkLst>
            <pc:docMk/>
            <pc:sldMk cId="1913528199" sldId="2146846934"/>
            <ac:spMk id="22" creationId="{E7588D71-12C8-4127-967C-48C0DD7CDF82}"/>
          </ac:spMkLst>
        </pc:spChg>
        <pc:spChg chg="add mod">
          <ac:chgData name="Thomas Belling (Nokia)" userId="38e53bf5-7a59-41ec-8bf1-bf611b810166" providerId="ADAL" clId="{2CD47BF3-ABD8-45FD-8434-598C5D6FC3BD}" dt="2022-12-02T16:32:37.982" v="102" actId="1038"/>
          <ac:spMkLst>
            <pc:docMk/>
            <pc:sldMk cId="1913528199" sldId="2146846934"/>
            <ac:spMk id="23" creationId="{45968425-F4E6-4552-93E7-088CDB53E387}"/>
          </ac:spMkLst>
        </pc:spChg>
      </pc:sldChg>
      <pc:sldChg chg="modSp mod">
        <pc:chgData name="Thomas Belling (Nokia)" userId="38e53bf5-7a59-41ec-8bf1-bf611b810166" providerId="ADAL" clId="{2CD47BF3-ABD8-45FD-8434-598C5D6FC3BD}" dt="2022-12-02T16:44:24.337" v="241" actId="20577"/>
        <pc:sldMkLst>
          <pc:docMk/>
          <pc:sldMk cId="1479038244" sldId="2146846952"/>
        </pc:sldMkLst>
        <pc:spChg chg="mod">
          <ac:chgData name="Thomas Belling (Nokia)" userId="38e53bf5-7a59-41ec-8bf1-bf611b810166" providerId="ADAL" clId="{2CD47BF3-ABD8-45FD-8434-598C5D6FC3BD}" dt="2022-12-02T16:44:24.337" v="241" actId="20577"/>
          <ac:spMkLst>
            <pc:docMk/>
            <pc:sldMk cId="1479038244" sldId="2146846952"/>
            <ac:spMk id="4" creationId="{B91515A7-343D-47E8-82B8-D58ED83CD3B1}"/>
          </ac:spMkLst>
        </pc:spChg>
      </pc:sldChg>
      <pc:sldChg chg="modSp mod">
        <pc:chgData name="Thomas Belling (Nokia)" userId="38e53bf5-7a59-41ec-8bf1-bf611b810166" providerId="ADAL" clId="{2CD47BF3-ABD8-45FD-8434-598C5D6FC3BD}" dt="2022-12-02T16:57:24.802" v="332" actId="14100"/>
        <pc:sldMkLst>
          <pc:docMk/>
          <pc:sldMk cId="870368088" sldId="2146846953"/>
        </pc:sldMkLst>
        <pc:graphicFrameChg chg="mod modGraphic">
          <ac:chgData name="Thomas Belling (Nokia)" userId="38e53bf5-7a59-41ec-8bf1-bf611b810166" providerId="ADAL" clId="{2CD47BF3-ABD8-45FD-8434-598C5D6FC3BD}" dt="2022-12-02T16:57:24.802" v="332" actId="14100"/>
          <ac:graphicFrameMkLst>
            <pc:docMk/>
            <pc:sldMk cId="870368088" sldId="2146846953"/>
            <ac:graphicFrameMk id="5" creationId="{72292819-8568-4BDF-9D17-E4BA66E2B6E4}"/>
          </ac:graphicFrameMkLst>
        </pc:graphicFrameChg>
      </pc:sldChg>
      <pc:sldChg chg="modSp mod">
        <pc:chgData name="Thomas Belling (Nokia)" userId="38e53bf5-7a59-41ec-8bf1-bf611b810166" providerId="ADAL" clId="{2CD47BF3-ABD8-45FD-8434-598C5D6FC3BD}" dt="2022-12-02T17:04:00.340" v="472" actId="20577"/>
        <pc:sldMkLst>
          <pc:docMk/>
          <pc:sldMk cId="2215845275" sldId="2146846956"/>
        </pc:sldMkLst>
        <pc:graphicFrameChg chg="mod modGraphic">
          <ac:chgData name="Thomas Belling (Nokia)" userId="38e53bf5-7a59-41ec-8bf1-bf611b810166" providerId="ADAL" clId="{2CD47BF3-ABD8-45FD-8434-598C5D6FC3BD}" dt="2022-12-02T17:04:00.340" v="472" actId="20577"/>
          <ac:graphicFrameMkLst>
            <pc:docMk/>
            <pc:sldMk cId="2215845275" sldId="2146846956"/>
            <ac:graphicFrameMk id="5" creationId="{72292819-8568-4BDF-9D17-E4BA66E2B6E4}"/>
          </ac:graphicFrameMkLst>
        </pc:graphicFrameChg>
      </pc:sldChg>
    </pc:docChg>
  </pc:docChgLst>
  <pc:docChgLst>
    <pc:chgData name="Casati, Alessio (Nokia - GB)" userId="S::alessio.casati@nokia.com::6f050b0a-bf61-49f1-93be-076af52cf2e7" providerId="AD" clId="Web-{7A731A90-6766-EEE6-2EBF-17E276DBE58D}"/>
    <pc:docChg chg="addSld modSld">
      <pc:chgData name="Casati, Alessio (Nokia - GB)" userId="S::alessio.casati@nokia.com::6f050b0a-bf61-49f1-93be-076af52cf2e7" providerId="AD" clId="Web-{7A731A90-6766-EEE6-2EBF-17E276DBE58D}" dt="2021-11-29T14:40:56.148" v="44" actId="20577"/>
      <pc:docMkLst>
        <pc:docMk/>
      </pc:docMkLst>
      <pc:sldChg chg="modSp">
        <pc:chgData name="Casati, Alessio (Nokia - GB)" userId="S::alessio.casati@nokia.com::6f050b0a-bf61-49f1-93be-076af52cf2e7" providerId="AD" clId="Web-{7A731A90-6766-EEE6-2EBF-17E276DBE58D}" dt="2021-11-29T14:40:56.148" v="44" actId="20577"/>
        <pc:sldMkLst>
          <pc:docMk/>
          <pc:sldMk cId="2552578504" sldId="2134805563"/>
        </pc:sldMkLst>
        <pc:spChg chg="mod">
          <ac:chgData name="Casati, Alessio (Nokia - GB)" userId="S::alessio.casati@nokia.com::6f050b0a-bf61-49f1-93be-076af52cf2e7" providerId="AD" clId="Web-{7A731A90-6766-EEE6-2EBF-17E276DBE58D}" dt="2021-11-29T14:40:56.148" v="44" actId="20577"/>
          <ac:spMkLst>
            <pc:docMk/>
            <pc:sldMk cId="2552578504" sldId="2134805563"/>
            <ac:spMk id="4" creationId="{CD72C33D-DF40-4601-AF02-8DFD5A6EA958}"/>
          </ac:spMkLst>
        </pc:spChg>
      </pc:sldChg>
      <pc:sldChg chg="modSp add replId">
        <pc:chgData name="Casati, Alessio (Nokia - GB)" userId="S::alessio.casati@nokia.com::6f050b0a-bf61-49f1-93be-076af52cf2e7" providerId="AD" clId="Web-{7A731A90-6766-EEE6-2EBF-17E276DBE58D}" dt="2021-11-29T14:39:32.787" v="30" actId="20577"/>
        <pc:sldMkLst>
          <pc:docMk/>
          <pc:sldMk cId="1148163688" sldId="2134805589"/>
        </pc:sldMkLst>
        <pc:spChg chg="mod">
          <ac:chgData name="Casati, Alessio (Nokia - GB)" userId="S::alessio.casati@nokia.com::6f050b0a-bf61-49f1-93be-076af52cf2e7" providerId="AD" clId="Web-{7A731A90-6766-EEE6-2EBF-17E276DBE58D}" dt="2021-11-29T14:39:32.787" v="30" actId="20577"/>
          <ac:spMkLst>
            <pc:docMk/>
            <pc:sldMk cId="1148163688" sldId="2134805589"/>
            <ac:spMk id="2" creationId="{F55F6DD9-9F73-4475-B4C0-0BD35C69E49D}"/>
          </ac:spMkLst>
        </pc:spChg>
        <pc:spChg chg="mod">
          <ac:chgData name="Casati, Alessio (Nokia - GB)" userId="S::alessio.casati@nokia.com::6f050b0a-bf61-49f1-93be-076af52cf2e7" providerId="AD" clId="Web-{7A731A90-6766-EEE6-2EBF-17E276DBE58D}" dt="2021-11-29T14:38:43.442" v="14" actId="20577"/>
          <ac:spMkLst>
            <pc:docMk/>
            <pc:sldMk cId="1148163688" sldId="2134805589"/>
            <ac:spMk id="3" creationId="{506A8607-C5AE-48A7-9AC8-7B6F426DD14D}"/>
          </ac:spMkLst>
        </pc:spChg>
        <pc:spChg chg="mod">
          <ac:chgData name="Casati, Alessio (Nokia - GB)" userId="S::alessio.casati@nokia.com::6f050b0a-bf61-49f1-93be-076af52cf2e7" providerId="AD" clId="Web-{7A731A90-6766-EEE6-2EBF-17E276DBE58D}" dt="2021-11-29T14:38:24.254" v="10" actId="1076"/>
          <ac:spMkLst>
            <pc:docMk/>
            <pc:sldMk cId="1148163688" sldId="2134805589"/>
            <ac:spMk id="4" creationId="{CD72C33D-DF40-4601-AF02-8DFD5A6EA958}"/>
          </ac:spMkLst>
        </pc:spChg>
      </pc:sldChg>
    </pc:docChg>
  </pc:docChgLst>
  <pc:docChgLst>
    <pc:chgData name="Simon Cai" userId="37152ebf-cb41-4a71-820f-4428dc623117" providerId="ADAL" clId="{20955A48-4302-4E87-9D67-C9688E3A7C9A}"/>
    <pc:docChg chg="undo custSel addSld delSld modSld sldOrd addMainMaster modMainMaster">
      <pc:chgData name="Simon Cai" userId="37152ebf-cb41-4a71-820f-4428dc623117" providerId="ADAL" clId="{20955A48-4302-4E87-9D67-C9688E3A7C9A}" dt="2022-12-05T12:22:27.652" v="33" actId="1076"/>
      <pc:docMkLst>
        <pc:docMk/>
      </pc:docMkLst>
      <pc:sldChg chg="add del">
        <pc:chgData name="Simon Cai" userId="37152ebf-cb41-4a71-820f-4428dc623117" providerId="ADAL" clId="{20955A48-4302-4E87-9D67-C9688E3A7C9A}" dt="2022-12-05T12:19:31.735" v="9" actId="47"/>
        <pc:sldMkLst>
          <pc:docMk/>
          <pc:sldMk cId="3808526133" sldId="2146846805"/>
        </pc:sldMkLst>
      </pc:sldChg>
      <pc:sldChg chg="add del">
        <pc:chgData name="Simon Cai" userId="37152ebf-cb41-4a71-820f-4428dc623117" providerId="ADAL" clId="{20955A48-4302-4E87-9D67-C9688E3A7C9A}" dt="2022-12-05T12:20:18.900" v="15" actId="2696"/>
        <pc:sldMkLst>
          <pc:docMk/>
          <pc:sldMk cId="61712652" sldId="2146846872"/>
        </pc:sldMkLst>
      </pc:sldChg>
      <pc:sldChg chg="add del">
        <pc:chgData name="Simon Cai" userId="37152ebf-cb41-4a71-820f-4428dc623117" providerId="ADAL" clId="{20955A48-4302-4E87-9D67-C9688E3A7C9A}" dt="2022-12-05T12:17:45.570" v="1" actId="47"/>
        <pc:sldMkLst>
          <pc:docMk/>
          <pc:sldMk cId="3299742882" sldId="2146846873"/>
        </pc:sldMkLst>
      </pc:sldChg>
      <pc:sldChg chg="add del">
        <pc:chgData name="Simon Cai" userId="37152ebf-cb41-4a71-820f-4428dc623117" providerId="ADAL" clId="{20955A48-4302-4E87-9D67-C9688E3A7C9A}" dt="2022-12-05T12:20:51.330" v="24" actId="47"/>
        <pc:sldMkLst>
          <pc:docMk/>
          <pc:sldMk cId="3039704943" sldId="2146846875"/>
        </pc:sldMkLst>
      </pc:sldChg>
      <pc:sldChg chg="add del">
        <pc:chgData name="Simon Cai" userId="37152ebf-cb41-4a71-820f-4428dc623117" providerId="ADAL" clId="{20955A48-4302-4E87-9D67-C9688E3A7C9A}" dt="2022-12-05T12:20:51.330" v="24" actId="47"/>
        <pc:sldMkLst>
          <pc:docMk/>
          <pc:sldMk cId="2351449669" sldId="2146846876"/>
        </pc:sldMkLst>
      </pc:sldChg>
      <pc:sldChg chg="add del">
        <pc:chgData name="Simon Cai" userId="37152ebf-cb41-4a71-820f-4428dc623117" providerId="ADAL" clId="{20955A48-4302-4E87-9D67-C9688E3A7C9A}" dt="2022-12-05T12:20:51.330" v="24" actId="47"/>
        <pc:sldMkLst>
          <pc:docMk/>
          <pc:sldMk cId="3409453194" sldId="2146846877"/>
        </pc:sldMkLst>
      </pc:sldChg>
      <pc:sldChg chg="add del">
        <pc:chgData name="Simon Cai" userId="37152ebf-cb41-4a71-820f-4428dc623117" providerId="ADAL" clId="{20955A48-4302-4E87-9D67-C9688E3A7C9A}" dt="2022-12-05T12:20:51.330" v="24" actId="47"/>
        <pc:sldMkLst>
          <pc:docMk/>
          <pc:sldMk cId="1664876834" sldId="2146846911"/>
        </pc:sldMkLst>
      </pc:sldChg>
      <pc:sldChg chg="add del">
        <pc:chgData name="Simon Cai" userId="37152ebf-cb41-4a71-820f-4428dc623117" providerId="ADAL" clId="{20955A48-4302-4E87-9D67-C9688E3A7C9A}" dt="2022-12-05T12:20:51.330" v="24" actId="47"/>
        <pc:sldMkLst>
          <pc:docMk/>
          <pc:sldMk cId="1547245855" sldId="2146846912"/>
        </pc:sldMkLst>
      </pc:sldChg>
      <pc:sldChg chg="add del">
        <pc:chgData name="Simon Cai" userId="37152ebf-cb41-4a71-820f-4428dc623117" providerId="ADAL" clId="{20955A48-4302-4E87-9D67-C9688E3A7C9A}" dt="2022-12-05T12:20:51.330" v="24" actId="47"/>
        <pc:sldMkLst>
          <pc:docMk/>
          <pc:sldMk cId="1864093619" sldId="2146846913"/>
        </pc:sldMkLst>
      </pc:sldChg>
      <pc:sldChg chg="add del">
        <pc:chgData name="Simon Cai" userId="37152ebf-cb41-4a71-820f-4428dc623117" providerId="ADAL" clId="{20955A48-4302-4E87-9D67-C9688E3A7C9A}" dt="2022-12-05T12:20:51.330" v="24" actId="47"/>
        <pc:sldMkLst>
          <pc:docMk/>
          <pc:sldMk cId="2057767730" sldId="2146846914"/>
        </pc:sldMkLst>
      </pc:sldChg>
      <pc:sldChg chg="add del">
        <pc:chgData name="Simon Cai" userId="37152ebf-cb41-4a71-820f-4428dc623117" providerId="ADAL" clId="{20955A48-4302-4E87-9D67-C9688E3A7C9A}" dt="2022-12-05T12:20:51.330" v="24" actId="47"/>
        <pc:sldMkLst>
          <pc:docMk/>
          <pc:sldMk cId="51186039" sldId="2146846915"/>
        </pc:sldMkLst>
      </pc:sldChg>
      <pc:sldChg chg="add del">
        <pc:chgData name="Simon Cai" userId="37152ebf-cb41-4a71-820f-4428dc623117" providerId="ADAL" clId="{20955A48-4302-4E87-9D67-C9688E3A7C9A}" dt="2022-12-05T12:20:51.330" v="24" actId="47"/>
        <pc:sldMkLst>
          <pc:docMk/>
          <pc:sldMk cId="3531694244" sldId="2146846916"/>
        </pc:sldMkLst>
      </pc:sldChg>
      <pc:sldChg chg="add del">
        <pc:chgData name="Simon Cai" userId="37152ebf-cb41-4a71-820f-4428dc623117" providerId="ADAL" clId="{20955A48-4302-4E87-9D67-C9688E3A7C9A}" dt="2022-12-05T12:20:51.330" v="24" actId="47"/>
        <pc:sldMkLst>
          <pc:docMk/>
          <pc:sldMk cId="166719520" sldId="2146846917"/>
        </pc:sldMkLst>
      </pc:sldChg>
      <pc:sldChg chg="add">
        <pc:chgData name="Simon Cai" userId="37152ebf-cb41-4a71-820f-4428dc623117" providerId="ADAL" clId="{20955A48-4302-4E87-9D67-C9688E3A7C9A}" dt="2022-12-05T12:19:12.921" v="3"/>
        <pc:sldMkLst>
          <pc:docMk/>
          <pc:sldMk cId="157715270" sldId="2146846978"/>
        </pc:sldMkLst>
      </pc:sldChg>
      <pc:sldChg chg="add ord">
        <pc:chgData name="Simon Cai" userId="37152ebf-cb41-4a71-820f-4428dc623117" providerId="ADAL" clId="{20955A48-4302-4E87-9D67-C9688E3A7C9A}" dt="2022-12-05T12:19:28.544" v="8"/>
        <pc:sldMkLst>
          <pc:docMk/>
          <pc:sldMk cId="609619706" sldId="2146846979"/>
        </pc:sldMkLst>
      </pc:sldChg>
      <pc:sldChg chg="add ord">
        <pc:chgData name="Simon Cai" userId="37152ebf-cb41-4a71-820f-4428dc623117" providerId="ADAL" clId="{20955A48-4302-4E87-9D67-C9688E3A7C9A}" dt="2022-12-05T12:21:18.443" v="26"/>
        <pc:sldMkLst>
          <pc:docMk/>
          <pc:sldMk cId="748166896" sldId="2146846980"/>
        </pc:sldMkLst>
      </pc:sldChg>
      <pc:sldChg chg="modSp add mod">
        <pc:chgData name="Simon Cai" userId="37152ebf-cb41-4a71-820f-4428dc623117" providerId="ADAL" clId="{20955A48-4302-4E87-9D67-C9688E3A7C9A}" dt="2022-12-05T12:22:27.652" v="33" actId="1076"/>
        <pc:sldMkLst>
          <pc:docMk/>
          <pc:sldMk cId="3954131026" sldId="2146846981"/>
        </pc:sldMkLst>
        <pc:spChg chg="mod">
          <ac:chgData name="Simon Cai" userId="37152ebf-cb41-4a71-820f-4428dc623117" providerId="ADAL" clId="{20955A48-4302-4E87-9D67-C9688E3A7C9A}" dt="2022-12-05T12:22:23.714" v="32" actId="14100"/>
          <ac:spMkLst>
            <pc:docMk/>
            <pc:sldMk cId="3954131026" sldId="2146846981"/>
            <ac:spMk id="4" creationId="{0D370031-D5FF-48E9-BCE1-AD1D51C94A30}"/>
          </ac:spMkLst>
        </pc:spChg>
        <pc:picChg chg="mod">
          <ac:chgData name="Simon Cai" userId="37152ebf-cb41-4a71-820f-4428dc623117" providerId="ADAL" clId="{20955A48-4302-4E87-9D67-C9688E3A7C9A}" dt="2022-12-05T12:22:27.652" v="33" actId="1076"/>
          <ac:picMkLst>
            <pc:docMk/>
            <pc:sldMk cId="3954131026" sldId="2146846981"/>
            <ac:picMk id="2" creationId="{993735AD-2AF1-4700-9399-A057F828EBBC}"/>
          </ac:picMkLst>
        </pc:picChg>
      </pc:sldChg>
      <pc:sldChg chg="add del">
        <pc:chgData name="Simon Cai" userId="37152ebf-cb41-4a71-820f-4428dc623117" providerId="ADAL" clId="{20955A48-4302-4E87-9D67-C9688E3A7C9A}" dt="2022-12-05T12:20:13.792" v="14" actId="2696"/>
        <pc:sldMkLst>
          <pc:docMk/>
          <pc:sldMk cId="4229806838" sldId="2146846981"/>
        </pc:sldMkLst>
      </pc:sldChg>
      <pc:sldChg chg="add">
        <pc:chgData name="Simon Cai" userId="37152ebf-cb41-4a71-820f-4428dc623117" providerId="ADAL" clId="{20955A48-4302-4E87-9D67-C9688E3A7C9A}" dt="2022-12-05T12:20:35.926" v="19"/>
        <pc:sldMkLst>
          <pc:docMk/>
          <pc:sldMk cId="4193739587" sldId="2146846982"/>
        </pc:sldMkLst>
      </pc:sldChg>
      <pc:sldChg chg="add">
        <pc:chgData name="Simon Cai" userId="37152ebf-cb41-4a71-820f-4428dc623117" providerId="ADAL" clId="{20955A48-4302-4E87-9D67-C9688E3A7C9A}" dt="2022-12-05T12:20:37.177" v="21"/>
        <pc:sldMkLst>
          <pc:docMk/>
          <pc:sldMk cId="4151192387" sldId="2146846983"/>
        </pc:sldMkLst>
      </pc:sldChg>
      <pc:sldChg chg="add">
        <pc:chgData name="Simon Cai" userId="37152ebf-cb41-4a71-820f-4428dc623117" providerId="ADAL" clId="{20955A48-4302-4E87-9D67-C9688E3A7C9A}" dt="2022-12-05T12:20:40.794" v="23"/>
        <pc:sldMkLst>
          <pc:docMk/>
          <pc:sldMk cId="661313128" sldId="2146846984"/>
        </pc:sldMkLst>
      </pc:sldChg>
      <pc:sldChg chg="add">
        <pc:chgData name="Simon Cai" userId="37152ebf-cb41-4a71-820f-4428dc623117" providerId="ADAL" clId="{20955A48-4302-4E87-9D67-C9688E3A7C9A}" dt="2022-12-05T12:21:36.819" v="28"/>
        <pc:sldMkLst>
          <pc:docMk/>
          <pc:sldMk cId="3436564993" sldId="2146846985"/>
        </pc:sldMkLst>
      </pc:sldChg>
      <pc:sldMasterChg chg="modSp add mod addSldLayout">
        <pc:chgData name="Simon Cai" userId="37152ebf-cb41-4a71-820f-4428dc623117" providerId="ADAL" clId="{20955A48-4302-4E87-9D67-C9688E3A7C9A}" dt="2022-12-05T12:19:13.049" v="4" actId="27636"/>
        <pc:sldMasterMkLst>
          <pc:docMk/>
          <pc:sldMasterMk cId="0" sldId="2147483729"/>
        </pc:sldMasterMkLst>
        <pc:spChg chg="mod">
          <ac:chgData name="Simon Cai" userId="37152ebf-cb41-4a71-820f-4428dc623117" providerId="ADAL" clId="{20955A48-4302-4E87-9D67-C9688E3A7C9A}" dt="2022-12-05T12:19:13.049" v="4" actId="27636"/>
          <ac:spMkLst>
            <pc:docMk/>
            <pc:sldMasterMk cId="0" sldId="2147483729"/>
            <ac:spMk id="14" creationId="{00000000-0000-0000-0000-000000000000}"/>
          </ac:spMkLst>
        </pc:spChg>
        <pc:sldLayoutChg chg="add">
          <pc:chgData name="Simon Cai" userId="37152ebf-cb41-4a71-820f-4428dc623117" providerId="ADAL" clId="{20955A48-4302-4E87-9D67-C9688E3A7C9A}" dt="2022-12-05T12:19:12.916" v="2" actId="27028"/>
          <pc:sldLayoutMkLst>
            <pc:docMk/>
            <pc:sldMasterMk cId="0" sldId="2147483729"/>
            <pc:sldLayoutMk cId="302977723" sldId="2147483769"/>
          </pc:sldLayoutMkLst>
        </pc:sldLayoutChg>
      </pc:sldMasterChg>
    </pc:docChg>
  </pc:docChgLst>
  <pc:docChgLst>
    <pc:chgData name="Chandramouli, Devaki (Nokia - US/Dallas)" userId="S::devaki.chandramouli@nokia.com::ebf2a9f8-651b-4485-926f-9d93c0eafbc5" providerId="AD" clId="Web-{F1E7DB91-4FEE-70A4-9230-CC600FC3E8C0}"/>
    <pc:docChg chg="modSld">
      <pc:chgData name="Chandramouli, Devaki (Nokia - US/Dallas)" userId="S::devaki.chandramouli@nokia.com::ebf2a9f8-651b-4485-926f-9d93c0eafbc5" providerId="AD" clId="Web-{F1E7DB91-4FEE-70A4-9230-CC600FC3E8C0}" dt="2020-03-09T05:25:15.470" v="19" actId="20577"/>
      <pc:docMkLst>
        <pc:docMk/>
      </pc:docMkLst>
      <pc:sldChg chg="modSp">
        <pc:chgData name="Chandramouli, Devaki (Nokia - US/Dallas)" userId="S::devaki.chandramouli@nokia.com::ebf2a9f8-651b-4485-926f-9d93c0eafbc5" providerId="AD" clId="Web-{F1E7DB91-4FEE-70A4-9230-CC600FC3E8C0}" dt="2020-03-09T05:25:15.454" v="18" actId="20577"/>
        <pc:sldMkLst>
          <pc:docMk/>
          <pc:sldMk cId="1074351315" sldId="283"/>
        </pc:sldMkLst>
        <pc:spChg chg="mod">
          <ac:chgData name="Chandramouli, Devaki (Nokia - US/Dallas)" userId="S::devaki.chandramouli@nokia.com::ebf2a9f8-651b-4485-926f-9d93c0eafbc5" providerId="AD" clId="Web-{F1E7DB91-4FEE-70A4-9230-CC600FC3E8C0}" dt="2020-03-09T05:25:15.454" v="18" actId="20577"/>
          <ac:spMkLst>
            <pc:docMk/>
            <pc:sldMk cId="1074351315" sldId="283"/>
            <ac:spMk id="5" creationId="{A560F786-3A6C-41F0-99EF-DFF4DE7F777C}"/>
          </ac:spMkLst>
        </pc:spChg>
      </pc:sldChg>
      <pc:sldChg chg="addSp delSp modSp">
        <pc:chgData name="Chandramouli, Devaki (Nokia - US/Dallas)" userId="S::devaki.chandramouli@nokia.com::ebf2a9f8-651b-4485-926f-9d93c0eafbc5" providerId="AD" clId="Web-{F1E7DB91-4FEE-70A4-9230-CC600FC3E8C0}" dt="2020-03-09T05:24:51.673" v="6" actId="20577"/>
        <pc:sldMkLst>
          <pc:docMk/>
          <pc:sldMk cId="3687963215" sldId="289"/>
        </pc:sldMkLst>
        <pc:spChg chg="add del mod">
          <ac:chgData name="Chandramouli, Devaki (Nokia - US/Dallas)" userId="S::devaki.chandramouli@nokia.com::ebf2a9f8-651b-4485-926f-9d93c0eafbc5" providerId="AD" clId="Web-{F1E7DB91-4FEE-70A4-9230-CC600FC3E8C0}" dt="2020-03-09T05:24:51.673" v="6" actId="20577"/>
          <ac:spMkLst>
            <pc:docMk/>
            <pc:sldMk cId="3687963215" sldId="289"/>
            <ac:spMk id="5" creationId="{A560F786-3A6C-41F0-99EF-DFF4DE7F777C}"/>
          </ac:spMkLst>
        </pc:spChg>
        <pc:spChg chg="add del mod">
          <ac:chgData name="Chandramouli, Devaki (Nokia - US/Dallas)" userId="S::devaki.chandramouli@nokia.com::ebf2a9f8-651b-4485-926f-9d93c0eafbc5" providerId="AD" clId="Web-{F1E7DB91-4FEE-70A4-9230-CC600FC3E8C0}" dt="2020-03-09T05:24:39.142" v="1"/>
          <ac:spMkLst>
            <pc:docMk/>
            <pc:sldMk cId="3687963215" sldId="289"/>
            <ac:spMk id="7" creationId="{09D51F9C-1014-4E6F-8F78-4D808A1DE46A}"/>
          </ac:spMkLst>
        </pc:spChg>
      </pc:sldChg>
    </pc:docChg>
  </pc:docChgLst>
  <pc:docChgLst>
    <pc:chgData name="Thiebaut, Laurent (Nokia - FR/Paris-Saclay)" userId="5a0f83ef-4330-4e17-8828-eca8fc03b257" providerId="ADAL" clId="{61A4C03E-74DD-4A27-AE59-4BD329372724}"/>
    <pc:docChg chg="custSel addSld delSld modSld sldOrd">
      <pc:chgData name="Thiebaut, Laurent (Nokia - FR/Paris-Saclay)" userId="5a0f83ef-4330-4e17-8828-eca8fc03b257" providerId="ADAL" clId="{61A4C03E-74DD-4A27-AE59-4BD329372724}" dt="2022-09-09T10:26:34.346" v="710" actId="6549"/>
      <pc:docMkLst>
        <pc:docMk/>
      </pc:docMkLst>
      <pc:sldChg chg="modSp mod">
        <pc:chgData name="Thiebaut, Laurent (Nokia - FR/Paris-Saclay)" userId="5a0f83ef-4330-4e17-8828-eca8fc03b257" providerId="ADAL" clId="{61A4C03E-74DD-4A27-AE59-4BD329372724}" dt="2022-09-06T17:05:31.463" v="254" actId="20577"/>
        <pc:sldMkLst>
          <pc:docMk/>
          <pc:sldMk cId="2165169509" sldId="258"/>
        </pc:sldMkLst>
        <pc:spChg chg="mod">
          <ac:chgData name="Thiebaut, Laurent (Nokia - FR/Paris-Saclay)" userId="5a0f83ef-4330-4e17-8828-eca8fc03b257" providerId="ADAL" clId="{61A4C03E-74DD-4A27-AE59-4BD329372724}" dt="2022-09-06T17:05:31.463" v="254" actId="20577"/>
          <ac:spMkLst>
            <pc:docMk/>
            <pc:sldMk cId="2165169509" sldId="258"/>
            <ac:spMk id="3" creationId="{A4E748F3-52F3-4227-86AD-9C50826A6263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6T15:39:16.699" v="12" actId="20577"/>
        <pc:sldMkLst>
          <pc:docMk/>
          <pc:sldMk cId="2416036818" sldId="338"/>
        </pc:sldMkLst>
        <pc:spChg chg="mod">
          <ac:chgData name="Thiebaut, Laurent (Nokia - FR/Paris-Saclay)" userId="5a0f83ef-4330-4e17-8828-eca8fc03b257" providerId="ADAL" clId="{61A4C03E-74DD-4A27-AE59-4BD329372724}" dt="2022-09-06T15:38:58.388" v="8" actId="20577"/>
          <ac:spMkLst>
            <pc:docMk/>
            <pc:sldMk cId="2416036818" sldId="338"/>
            <ac:spMk id="3" creationId="{85A38C5A-5EBC-4325-8F64-062DAE1CFEC0}"/>
          </ac:spMkLst>
        </pc:spChg>
        <pc:spChg chg="mod">
          <ac:chgData name="Thiebaut, Laurent (Nokia - FR/Paris-Saclay)" userId="5a0f83ef-4330-4e17-8828-eca8fc03b257" providerId="ADAL" clId="{61A4C03E-74DD-4A27-AE59-4BD329372724}" dt="2022-09-06T15:39:16.699" v="12" actId="20577"/>
          <ac:spMkLst>
            <pc:docMk/>
            <pc:sldMk cId="2416036818" sldId="338"/>
            <ac:spMk id="5" creationId="{0A813F0E-7224-42E6-A359-B5A9B05FEE7A}"/>
          </ac:spMkLst>
        </pc:spChg>
      </pc:sldChg>
      <pc:sldChg chg="addSp delSp modSp add mod modTransition">
        <pc:chgData name="Thiebaut, Laurent (Nokia - FR/Paris-Saclay)" userId="5a0f83ef-4330-4e17-8828-eca8fc03b257" providerId="ADAL" clId="{61A4C03E-74DD-4A27-AE59-4BD329372724}" dt="2022-09-09T08:18:26.303" v="273" actId="20577"/>
        <pc:sldMkLst>
          <pc:docMk/>
          <pc:sldMk cId="1419602843" sldId="874"/>
        </pc:sldMkLst>
        <pc:spChg chg="mod">
          <ac:chgData name="Thiebaut, Laurent (Nokia - FR/Paris-Saclay)" userId="5a0f83ef-4330-4e17-8828-eca8fc03b257" providerId="ADAL" clId="{61A4C03E-74DD-4A27-AE59-4BD329372724}" dt="2022-09-09T08:18:26.303" v="273" actId="20577"/>
          <ac:spMkLst>
            <pc:docMk/>
            <pc:sldMk cId="1419602843" sldId="874"/>
            <ac:spMk id="2" creationId="{3CA5B2E3-0348-4FED-AB10-699532D40C5A}"/>
          </ac:spMkLst>
        </pc:spChg>
        <pc:spChg chg="mod">
          <ac:chgData name="Thiebaut, Laurent (Nokia - FR/Paris-Saclay)" userId="5a0f83ef-4330-4e17-8828-eca8fc03b257" providerId="ADAL" clId="{61A4C03E-74DD-4A27-AE59-4BD329372724}" dt="2022-09-06T15:46:01.139" v="28" actId="14100"/>
          <ac:spMkLst>
            <pc:docMk/>
            <pc:sldMk cId="1419602843" sldId="874"/>
            <ac:spMk id="8203" creationId="{ED202260-4FEC-490C-8680-4D82A94BFB7A}"/>
          </ac:spMkLst>
        </pc:spChg>
        <pc:graphicFrameChg chg="del">
          <ac:chgData name="Thiebaut, Laurent (Nokia - FR/Paris-Saclay)" userId="5a0f83ef-4330-4e17-8828-eca8fc03b257" providerId="ADAL" clId="{61A4C03E-74DD-4A27-AE59-4BD329372724}" dt="2022-09-06T15:42:03.170" v="21" actId="478"/>
          <ac:graphicFrameMkLst>
            <pc:docMk/>
            <pc:sldMk cId="1419602843" sldId="874"/>
            <ac:graphicFrameMk id="4" creationId="{94D243A8-5D7B-47E3-9650-A684573332CD}"/>
          </ac:graphicFrameMkLst>
        </pc:graphicFrameChg>
        <pc:picChg chg="add mod">
          <ac:chgData name="Thiebaut, Laurent (Nokia - FR/Paris-Saclay)" userId="5a0f83ef-4330-4e17-8828-eca8fc03b257" providerId="ADAL" clId="{61A4C03E-74DD-4A27-AE59-4BD329372724}" dt="2022-09-06T15:46:09.780" v="30" actId="1076"/>
          <ac:picMkLst>
            <pc:docMk/>
            <pc:sldMk cId="1419602843" sldId="874"/>
            <ac:picMk id="5" creationId="{F5544A97-95EF-4C90-AF19-99254B1B430D}"/>
          </ac:picMkLst>
        </pc:picChg>
      </pc:sldChg>
      <pc:sldChg chg="modSp add mod">
        <pc:chgData name="Thiebaut, Laurent (Nokia - FR/Paris-Saclay)" userId="5a0f83ef-4330-4e17-8828-eca8fc03b257" providerId="ADAL" clId="{61A4C03E-74DD-4A27-AE59-4BD329372724}" dt="2022-09-07T06:12:36.696" v="268" actId="14100"/>
        <pc:sldMkLst>
          <pc:docMk/>
          <pc:sldMk cId="3204802576" sldId="934"/>
        </pc:sldMkLst>
        <pc:graphicFrameChg chg="mod modGraphic">
          <ac:chgData name="Thiebaut, Laurent (Nokia - FR/Paris-Saclay)" userId="5a0f83ef-4330-4e17-8828-eca8fc03b257" providerId="ADAL" clId="{61A4C03E-74DD-4A27-AE59-4BD329372724}" dt="2022-09-07T06:12:36.696" v="268" actId="14100"/>
          <ac:graphicFrameMkLst>
            <pc:docMk/>
            <pc:sldMk cId="3204802576" sldId="934"/>
            <ac:graphicFrameMk id="3" creationId="{967DC7A1-6DA2-4BEB-A9C9-BE5C747BEBF9}"/>
          </ac:graphicFrameMkLst>
        </pc:graphicFrameChg>
      </pc:sldChg>
      <pc:sldChg chg="add del">
        <pc:chgData name="Thiebaut, Laurent (Nokia - FR/Paris-Saclay)" userId="5a0f83ef-4330-4e17-8828-eca8fc03b257" providerId="ADAL" clId="{61A4C03E-74DD-4A27-AE59-4BD329372724}" dt="2022-09-06T15:45:32.178" v="22"/>
        <pc:sldMkLst>
          <pc:docMk/>
          <pc:sldMk cId="2152723967" sldId="1099"/>
        </pc:sldMkLst>
      </pc:sldChg>
      <pc:sldChg chg="modSp mod">
        <pc:chgData name="Thiebaut, Laurent (Nokia - FR/Paris-Saclay)" userId="5a0f83ef-4330-4e17-8828-eca8fc03b257" providerId="ADAL" clId="{61A4C03E-74DD-4A27-AE59-4BD329372724}" dt="2022-09-09T10:18:38.764" v="655" actId="20577"/>
        <pc:sldMkLst>
          <pc:docMk/>
          <pc:sldMk cId="908993029" sldId="2134805527"/>
        </pc:sldMkLst>
        <pc:spChg chg="mod">
          <ac:chgData name="Thiebaut, Laurent (Nokia - FR/Paris-Saclay)" userId="5a0f83ef-4330-4e17-8828-eca8fc03b257" providerId="ADAL" clId="{61A4C03E-74DD-4A27-AE59-4BD329372724}" dt="2022-09-09T08:17:55.169" v="271" actId="207"/>
          <ac:spMkLst>
            <pc:docMk/>
            <pc:sldMk cId="908993029" sldId="2134805527"/>
            <ac:spMk id="48" creationId="{363BC764-C7B1-4938-B601-C1D4BE3CEF0C}"/>
          </ac:spMkLst>
        </pc:spChg>
        <pc:spChg chg="mod">
          <ac:chgData name="Thiebaut, Laurent (Nokia - FR/Paris-Saclay)" userId="5a0f83ef-4330-4e17-8828-eca8fc03b257" providerId="ADAL" clId="{61A4C03E-74DD-4A27-AE59-4BD329372724}" dt="2022-09-09T08:17:58.820" v="272" actId="207"/>
          <ac:spMkLst>
            <pc:docMk/>
            <pc:sldMk cId="908993029" sldId="2134805527"/>
            <ac:spMk id="49" creationId="{EA07AD3F-FACA-42BA-8768-1AC8765EBCA5}"/>
          </ac:spMkLst>
        </pc:spChg>
        <pc:spChg chg="mod">
          <ac:chgData name="Thiebaut, Laurent (Nokia - FR/Paris-Saclay)" userId="5a0f83ef-4330-4e17-8828-eca8fc03b257" providerId="ADAL" clId="{61A4C03E-74DD-4A27-AE59-4BD329372724}" dt="2022-09-09T10:18:38.764" v="655" actId="20577"/>
          <ac:spMkLst>
            <pc:docMk/>
            <pc:sldMk cId="908993029" sldId="2134805527"/>
            <ac:spMk id="8203" creationId="{00000000-0000-0000-0000-000000000000}"/>
          </ac:spMkLst>
        </pc:spChg>
        <pc:cxnChg chg="mod">
          <ac:chgData name="Thiebaut, Laurent (Nokia - FR/Paris-Saclay)" userId="5a0f83ef-4330-4e17-8828-eca8fc03b257" providerId="ADAL" clId="{61A4C03E-74DD-4A27-AE59-4BD329372724}" dt="2022-09-06T15:39:25.068" v="13" actId="1076"/>
          <ac:cxnSpMkLst>
            <pc:docMk/>
            <pc:sldMk cId="908993029" sldId="2134805527"/>
            <ac:cxnSpMk id="8" creationId="{31E383A0-3AB9-455E-8BC1-87201B8E64E5}"/>
          </ac:cxnSpMkLst>
        </pc:cxnChg>
      </pc:sldChg>
      <pc:sldChg chg="del">
        <pc:chgData name="Thiebaut, Laurent (Nokia - FR/Paris-Saclay)" userId="5a0f83ef-4330-4e17-8828-eca8fc03b257" providerId="ADAL" clId="{61A4C03E-74DD-4A27-AE59-4BD329372724}" dt="2022-09-06T15:48:37.138" v="45" actId="47"/>
        <pc:sldMkLst>
          <pc:docMk/>
          <pc:sldMk cId="3601372499" sldId="2134805539"/>
        </pc:sldMkLst>
      </pc:sldChg>
      <pc:sldChg chg="delSp modSp mod">
        <pc:chgData name="Thiebaut, Laurent (Nokia - FR/Paris-Saclay)" userId="5a0f83ef-4330-4e17-8828-eca8fc03b257" providerId="ADAL" clId="{61A4C03E-74DD-4A27-AE59-4BD329372724}" dt="2022-09-06T17:11:02.147" v="262"/>
        <pc:sldMkLst>
          <pc:docMk/>
          <pc:sldMk cId="4008632245" sldId="2134805565"/>
        </pc:sldMkLst>
        <pc:spChg chg="mod">
          <ac:chgData name="Thiebaut, Laurent (Nokia - FR/Paris-Saclay)" userId="5a0f83ef-4330-4e17-8828-eca8fc03b257" providerId="ADAL" clId="{61A4C03E-74DD-4A27-AE59-4BD329372724}" dt="2022-09-06T17:06:36.617" v="259" actId="404"/>
          <ac:spMkLst>
            <pc:docMk/>
            <pc:sldMk cId="4008632245" sldId="2134805565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61A4C03E-74DD-4A27-AE59-4BD329372724}" dt="2022-09-06T17:05:51.427" v="256" actId="313"/>
          <ac:spMkLst>
            <pc:docMk/>
            <pc:sldMk cId="4008632245" sldId="2134805565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61A4C03E-74DD-4A27-AE59-4BD329372724}" dt="2022-09-06T17:11:02.147" v="262"/>
          <ac:spMkLst>
            <pc:docMk/>
            <pc:sldMk cId="4008632245" sldId="2134805565"/>
            <ac:spMk id="4" creationId="{CD72C33D-DF40-4601-AF02-8DFD5A6EA958}"/>
          </ac:spMkLst>
        </pc:spChg>
        <pc:graphicFrameChg chg="del modGraphic">
          <ac:chgData name="Thiebaut, Laurent (Nokia - FR/Paris-Saclay)" userId="5a0f83ef-4330-4e17-8828-eca8fc03b257" providerId="ADAL" clId="{61A4C03E-74DD-4A27-AE59-4BD329372724}" dt="2022-09-06T17:04:55.920" v="250" actId="478"/>
          <ac:graphicFrameMkLst>
            <pc:docMk/>
            <pc:sldMk cId="4008632245" sldId="2134805565"/>
            <ac:graphicFrameMk id="5" creationId="{C8BBFCFC-A916-4DFF-91B3-3D3FB6D6A8D0}"/>
          </ac:graphicFrameMkLst>
        </pc:graphicFrameChg>
      </pc:sldChg>
      <pc:sldChg chg="modSp mod">
        <pc:chgData name="Thiebaut, Laurent (Nokia - FR/Paris-Saclay)" userId="5a0f83ef-4330-4e17-8828-eca8fc03b257" providerId="ADAL" clId="{61A4C03E-74DD-4A27-AE59-4BD329372724}" dt="2022-09-06T16:49:12.707" v="102" actId="403"/>
        <pc:sldMkLst>
          <pc:docMk/>
          <pc:sldMk cId="374592939" sldId="2134805583"/>
        </pc:sldMkLst>
        <pc:spChg chg="mod">
          <ac:chgData name="Thiebaut, Laurent (Nokia - FR/Paris-Saclay)" userId="5a0f83ef-4330-4e17-8828-eca8fc03b257" providerId="ADAL" clId="{61A4C03E-74DD-4A27-AE59-4BD329372724}" dt="2022-09-06T16:49:12.707" v="102" actId="403"/>
          <ac:spMkLst>
            <pc:docMk/>
            <pc:sldMk cId="374592939" sldId="2134805583"/>
            <ac:spMk id="4" creationId="{CD72C33D-DF40-4601-AF02-8DFD5A6EA958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6T16:51:50.211" v="116" actId="1076"/>
        <pc:sldMkLst>
          <pc:docMk/>
          <pc:sldMk cId="2969031349" sldId="2134805584"/>
        </pc:sldMkLst>
        <pc:spChg chg="mod">
          <ac:chgData name="Thiebaut, Laurent (Nokia - FR/Paris-Saclay)" userId="5a0f83ef-4330-4e17-8828-eca8fc03b257" providerId="ADAL" clId="{61A4C03E-74DD-4A27-AE59-4BD329372724}" dt="2022-09-06T16:51:44.422" v="115" actId="115"/>
          <ac:spMkLst>
            <pc:docMk/>
            <pc:sldMk cId="2969031349" sldId="2134805584"/>
            <ac:spMk id="4" creationId="{CD72C33D-DF40-4601-AF02-8DFD5A6EA958}"/>
          </ac:spMkLst>
        </pc:spChg>
        <pc:graphicFrameChg chg="mod">
          <ac:chgData name="Thiebaut, Laurent (Nokia - FR/Paris-Saclay)" userId="5a0f83ef-4330-4e17-8828-eca8fc03b257" providerId="ADAL" clId="{61A4C03E-74DD-4A27-AE59-4BD329372724}" dt="2022-09-06T16:51:50.211" v="116" actId="1076"/>
          <ac:graphicFrameMkLst>
            <pc:docMk/>
            <pc:sldMk cId="2969031349" sldId="2134805584"/>
            <ac:graphicFrameMk id="7" creationId="{84828CC4-19A6-4F80-8F8F-849FD7F32594}"/>
          </ac:graphicFrameMkLst>
        </pc:graphicFrameChg>
      </pc:sldChg>
      <pc:sldChg chg="modSp mod">
        <pc:chgData name="Thiebaut, Laurent (Nokia - FR/Paris-Saclay)" userId="5a0f83ef-4330-4e17-8828-eca8fc03b257" providerId="ADAL" clId="{61A4C03E-74DD-4A27-AE59-4BD329372724}" dt="2022-09-06T16:55:32.889" v="199" actId="20577"/>
        <pc:sldMkLst>
          <pc:docMk/>
          <pc:sldMk cId="1819896102" sldId="2134805586"/>
        </pc:sldMkLst>
        <pc:spChg chg="mod">
          <ac:chgData name="Thiebaut, Laurent (Nokia - FR/Paris-Saclay)" userId="5a0f83ef-4330-4e17-8828-eca8fc03b257" providerId="ADAL" clId="{61A4C03E-74DD-4A27-AE59-4BD329372724}" dt="2022-09-06T16:55:32.889" v="199" actId="20577"/>
          <ac:spMkLst>
            <pc:docMk/>
            <pc:sldMk cId="1819896102" sldId="2134805586"/>
            <ac:spMk id="4" creationId="{CD72C33D-DF40-4601-AF02-8DFD5A6EA958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9T10:02:15.811" v="508" actId="404"/>
        <pc:sldMkLst>
          <pc:docMk/>
          <pc:sldMk cId="681358297" sldId="2134805587"/>
        </pc:sldMkLst>
        <pc:spChg chg="mod">
          <ac:chgData name="Thiebaut, Laurent (Nokia - FR/Paris-Saclay)" userId="5a0f83ef-4330-4e17-8828-eca8fc03b257" providerId="ADAL" clId="{61A4C03E-74DD-4A27-AE59-4BD329372724}" dt="2022-09-09T10:02:15.811" v="508" actId="404"/>
          <ac:spMkLst>
            <pc:docMk/>
            <pc:sldMk cId="681358297" sldId="2134805587"/>
            <ac:spMk id="4" creationId="{CD72C33D-DF40-4601-AF02-8DFD5A6EA958}"/>
          </ac:spMkLst>
        </pc:spChg>
      </pc:sldChg>
      <pc:sldChg chg="ord">
        <pc:chgData name="Thiebaut, Laurent (Nokia - FR/Paris-Saclay)" userId="5a0f83ef-4330-4e17-8828-eca8fc03b257" providerId="ADAL" clId="{61A4C03E-74DD-4A27-AE59-4BD329372724}" dt="2022-09-08T18:42:32.978" v="270"/>
        <pc:sldMkLst>
          <pc:docMk/>
          <pc:sldMk cId="2394135302" sldId="2134805613"/>
        </pc:sldMkLst>
      </pc:sldChg>
      <pc:sldChg chg="ord">
        <pc:chgData name="Thiebaut, Laurent (Nokia - FR/Paris-Saclay)" userId="5a0f83ef-4330-4e17-8828-eca8fc03b257" providerId="ADAL" clId="{61A4C03E-74DD-4A27-AE59-4BD329372724}" dt="2022-09-08T18:42:32.978" v="270"/>
        <pc:sldMkLst>
          <pc:docMk/>
          <pc:sldMk cId="1806586001" sldId="2134805614"/>
        </pc:sldMkLst>
      </pc:sldChg>
      <pc:sldChg chg="ord">
        <pc:chgData name="Thiebaut, Laurent (Nokia - FR/Paris-Saclay)" userId="5a0f83ef-4330-4e17-8828-eca8fc03b257" providerId="ADAL" clId="{61A4C03E-74DD-4A27-AE59-4BD329372724}" dt="2022-09-08T18:42:32.978" v="270"/>
        <pc:sldMkLst>
          <pc:docMk/>
          <pc:sldMk cId="2009724111" sldId="2134805617"/>
        </pc:sldMkLst>
      </pc:sldChg>
      <pc:sldChg chg="ord">
        <pc:chgData name="Thiebaut, Laurent (Nokia - FR/Paris-Saclay)" userId="5a0f83ef-4330-4e17-8828-eca8fc03b257" providerId="ADAL" clId="{61A4C03E-74DD-4A27-AE59-4BD329372724}" dt="2022-09-08T18:42:32.978" v="270"/>
        <pc:sldMkLst>
          <pc:docMk/>
          <pc:sldMk cId="3974589309" sldId="2134805618"/>
        </pc:sldMkLst>
      </pc:sldChg>
      <pc:sldChg chg="del ord">
        <pc:chgData name="Thiebaut, Laurent (Nokia - FR/Paris-Saclay)" userId="5a0f83ef-4330-4e17-8828-eca8fc03b257" providerId="ADAL" clId="{61A4C03E-74DD-4A27-AE59-4BD329372724}" dt="2022-09-09T08:19:01.728" v="274" actId="47"/>
        <pc:sldMkLst>
          <pc:docMk/>
          <pc:sldMk cId="1862887054" sldId="2134805619"/>
        </pc:sldMkLst>
      </pc:sldChg>
      <pc:sldChg chg="del ord">
        <pc:chgData name="Thiebaut, Laurent (Nokia - FR/Paris-Saclay)" userId="5a0f83ef-4330-4e17-8828-eca8fc03b257" providerId="ADAL" clId="{61A4C03E-74DD-4A27-AE59-4BD329372724}" dt="2022-09-09T08:19:02.925" v="275" actId="47"/>
        <pc:sldMkLst>
          <pc:docMk/>
          <pc:sldMk cId="3800510262" sldId="2134805620"/>
        </pc:sldMkLst>
      </pc:sldChg>
      <pc:sldChg chg="modSp mod">
        <pc:chgData name="Thiebaut, Laurent (Nokia - FR/Paris-Saclay)" userId="5a0f83ef-4330-4e17-8828-eca8fc03b257" providerId="ADAL" clId="{61A4C03E-74DD-4A27-AE59-4BD329372724}" dt="2022-09-09T10:03:40.454" v="515" actId="20577"/>
        <pc:sldMkLst>
          <pc:docMk/>
          <pc:sldMk cId="3808526133" sldId="2146846805"/>
        </pc:sldMkLst>
        <pc:spChg chg="mod">
          <ac:chgData name="Thiebaut, Laurent (Nokia - FR/Paris-Saclay)" userId="5a0f83ef-4330-4e17-8828-eca8fc03b257" providerId="ADAL" clId="{61A4C03E-74DD-4A27-AE59-4BD329372724}" dt="2022-09-09T10:03:40.454" v="515" actId="20577"/>
          <ac:spMkLst>
            <pc:docMk/>
            <pc:sldMk cId="3808526133" sldId="2146846805"/>
            <ac:spMk id="4" creationId="{EE8F8129-6DFE-4C88-8770-3B754B94D0F9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9T10:02:51.869" v="511" actId="115"/>
        <pc:sldMkLst>
          <pc:docMk/>
          <pc:sldMk cId="494238848" sldId="2146846814"/>
        </pc:sldMkLst>
        <pc:spChg chg="mod">
          <ac:chgData name="Thiebaut, Laurent (Nokia - FR/Paris-Saclay)" userId="5a0f83ef-4330-4e17-8828-eca8fc03b257" providerId="ADAL" clId="{61A4C03E-74DD-4A27-AE59-4BD329372724}" dt="2022-09-09T10:02:51.869" v="511" actId="115"/>
          <ac:spMkLst>
            <pc:docMk/>
            <pc:sldMk cId="494238848" sldId="2146846814"/>
            <ac:spMk id="4" creationId="{CD72C33D-DF40-4601-AF02-8DFD5A6EA958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6T16:02:47.680" v="47" actId="6549"/>
        <pc:sldMkLst>
          <pc:docMk/>
          <pc:sldMk cId="1762226801" sldId="2146846817"/>
        </pc:sldMkLst>
        <pc:spChg chg="mod">
          <ac:chgData name="Thiebaut, Laurent (Nokia - FR/Paris-Saclay)" userId="5a0f83ef-4330-4e17-8828-eca8fc03b257" providerId="ADAL" clId="{61A4C03E-74DD-4A27-AE59-4BD329372724}" dt="2022-09-06T16:02:47.680" v="47" actId="6549"/>
          <ac:spMkLst>
            <pc:docMk/>
            <pc:sldMk cId="1762226801" sldId="2146846817"/>
            <ac:spMk id="4" creationId="{CD72C33D-DF40-4601-AF02-8DFD5A6EA958}"/>
          </ac:spMkLst>
        </pc:spChg>
      </pc:sldChg>
      <pc:sldChg chg="ord">
        <pc:chgData name="Thiebaut, Laurent (Nokia - FR/Paris-Saclay)" userId="5a0f83ef-4330-4e17-8828-eca8fc03b257" providerId="ADAL" clId="{61A4C03E-74DD-4A27-AE59-4BD329372724}" dt="2022-09-08T18:42:32.978" v="270"/>
        <pc:sldMkLst>
          <pc:docMk/>
          <pc:sldMk cId="158966349" sldId="2146846823"/>
        </pc:sldMkLst>
      </pc:sldChg>
      <pc:sldChg chg="del ord">
        <pc:chgData name="Thiebaut, Laurent (Nokia - FR/Paris-Saclay)" userId="5a0f83ef-4330-4e17-8828-eca8fc03b257" providerId="ADAL" clId="{61A4C03E-74DD-4A27-AE59-4BD329372724}" dt="2022-09-09T08:19:04.434" v="276" actId="47"/>
        <pc:sldMkLst>
          <pc:docMk/>
          <pc:sldMk cId="1034643308" sldId="2146846824"/>
        </pc:sldMkLst>
      </pc:sldChg>
      <pc:sldChg chg="modSp mod">
        <pc:chgData name="Thiebaut, Laurent (Nokia - FR/Paris-Saclay)" userId="5a0f83ef-4330-4e17-8828-eca8fc03b257" providerId="ADAL" clId="{61A4C03E-74DD-4A27-AE59-4BD329372724}" dt="2022-09-09T10:08:07.024" v="555" actId="113"/>
        <pc:sldMkLst>
          <pc:docMk/>
          <pc:sldMk cId="3243838235" sldId="2146846839"/>
        </pc:sldMkLst>
        <pc:spChg chg="mod">
          <ac:chgData name="Thiebaut, Laurent (Nokia - FR/Paris-Saclay)" userId="5a0f83ef-4330-4e17-8828-eca8fc03b257" providerId="ADAL" clId="{61A4C03E-74DD-4A27-AE59-4BD329372724}" dt="2022-09-09T10:08:07.024" v="555" actId="113"/>
          <ac:spMkLst>
            <pc:docMk/>
            <pc:sldMk cId="3243838235" sldId="2146846839"/>
            <ac:spMk id="4" creationId="{CD72C33D-DF40-4601-AF02-8DFD5A6EA958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9T10:04:02.784" v="520" actId="20577"/>
        <pc:sldMkLst>
          <pc:docMk/>
          <pc:sldMk cId="61712652" sldId="2146846872"/>
        </pc:sldMkLst>
        <pc:spChg chg="mod">
          <ac:chgData name="Thiebaut, Laurent (Nokia - FR/Paris-Saclay)" userId="5a0f83ef-4330-4e17-8828-eca8fc03b257" providerId="ADAL" clId="{61A4C03E-74DD-4A27-AE59-4BD329372724}" dt="2022-09-09T10:04:02.784" v="520" actId="20577"/>
          <ac:spMkLst>
            <pc:docMk/>
            <pc:sldMk cId="61712652" sldId="2146846872"/>
            <ac:spMk id="4" creationId="{D100C8F9-2BFE-443C-8318-5E6AE3C3214D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9T10:04:29.383" v="524" actId="20577"/>
        <pc:sldMkLst>
          <pc:docMk/>
          <pc:sldMk cId="3409453194" sldId="2146846877"/>
        </pc:sldMkLst>
        <pc:spChg chg="mod">
          <ac:chgData name="Thiebaut, Laurent (Nokia - FR/Paris-Saclay)" userId="5a0f83ef-4330-4e17-8828-eca8fc03b257" providerId="ADAL" clId="{61A4C03E-74DD-4A27-AE59-4BD329372724}" dt="2022-09-09T10:04:29.383" v="524" actId="20577"/>
          <ac:spMkLst>
            <pc:docMk/>
            <pc:sldMk cId="3409453194" sldId="2146846877"/>
            <ac:spMk id="4" creationId="{4CE9BCDE-B7C4-4582-BC8C-7323DD680549}"/>
          </ac:spMkLst>
        </pc:spChg>
      </pc:sldChg>
      <pc:sldChg chg="ord">
        <pc:chgData name="Thiebaut, Laurent (Nokia - FR/Paris-Saclay)" userId="5a0f83ef-4330-4e17-8828-eca8fc03b257" providerId="ADAL" clId="{61A4C03E-74DD-4A27-AE59-4BD329372724}" dt="2022-09-08T18:42:32.978" v="270"/>
        <pc:sldMkLst>
          <pc:docMk/>
          <pc:sldMk cId="60323065" sldId="2146846882"/>
        </pc:sldMkLst>
      </pc:sldChg>
      <pc:sldChg chg="del">
        <pc:chgData name="Thiebaut, Laurent (Nokia - FR/Paris-Saclay)" userId="5a0f83ef-4330-4e17-8828-eca8fc03b257" providerId="ADAL" clId="{61A4C03E-74DD-4A27-AE59-4BD329372724}" dt="2022-09-06T16:02:30.269" v="46" actId="47"/>
        <pc:sldMkLst>
          <pc:docMk/>
          <pc:sldMk cId="1725738849" sldId="2146846883"/>
        </pc:sldMkLst>
      </pc:sldChg>
      <pc:sldChg chg="modSp mod">
        <pc:chgData name="Thiebaut, Laurent (Nokia - FR/Paris-Saclay)" userId="5a0f83ef-4330-4e17-8828-eca8fc03b257" providerId="ADAL" clId="{61A4C03E-74DD-4A27-AE59-4BD329372724}" dt="2022-09-09T09:56:35.424" v="374" actId="113"/>
        <pc:sldMkLst>
          <pc:docMk/>
          <pc:sldMk cId="2047454418" sldId="2146846898"/>
        </pc:sldMkLst>
        <pc:spChg chg="mod">
          <ac:chgData name="Thiebaut, Laurent (Nokia - FR/Paris-Saclay)" userId="5a0f83ef-4330-4e17-8828-eca8fc03b257" providerId="ADAL" clId="{61A4C03E-74DD-4A27-AE59-4BD329372724}" dt="2022-09-09T09:56:35.424" v="374" actId="113"/>
          <ac:spMkLst>
            <pc:docMk/>
            <pc:sldMk cId="2047454418" sldId="2146846898"/>
            <ac:spMk id="4" creationId="{CD72C33D-DF40-4601-AF02-8DFD5A6EA958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9T10:07:33.464" v="554" actId="113"/>
        <pc:sldMkLst>
          <pc:docMk/>
          <pc:sldMk cId="2057767730" sldId="2146846914"/>
        </pc:sldMkLst>
        <pc:spChg chg="mod">
          <ac:chgData name="Thiebaut, Laurent (Nokia - FR/Paris-Saclay)" userId="5a0f83ef-4330-4e17-8828-eca8fc03b257" providerId="ADAL" clId="{61A4C03E-74DD-4A27-AE59-4BD329372724}" dt="2022-09-09T10:06:14.392" v="527" actId="20577"/>
          <ac:spMkLst>
            <pc:docMk/>
            <pc:sldMk cId="2057767730" sldId="2146846914"/>
            <ac:spMk id="2" creationId="{9E2989F8-F580-4EB3-B7E0-49587C9468BB}"/>
          </ac:spMkLst>
        </pc:spChg>
        <pc:spChg chg="mod">
          <ac:chgData name="Thiebaut, Laurent (Nokia - FR/Paris-Saclay)" userId="5a0f83ef-4330-4e17-8828-eca8fc03b257" providerId="ADAL" clId="{61A4C03E-74DD-4A27-AE59-4BD329372724}" dt="2022-09-09T10:06:09.845" v="525" actId="21"/>
          <ac:spMkLst>
            <pc:docMk/>
            <pc:sldMk cId="2057767730" sldId="2146846914"/>
            <ac:spMk id="3" creationId="{09EC92F5-3E2A-454F-AAFA-11C06ED57944}"/>
          </ac:spMkLst>
        </pc:spChg>
        <pc:spChg chg="mod">
          <ac:chgData name="Thiebaut, Laurent (Nokia - FR/Paris-Saclay)" userId="5a0f83ef-4330-4e17-8828-eca8fc03b257" providerId="ADAL" clId="{61A4C03E-74DD-4A27-AE59-4BD329372724}" dt="2022-09-09T10:07:33.464" v="554" actId="113"/>
          <ac:spMkLst>
            <pc:docMk/>
            <pc:sldMk cId="2057767730" sldId="2146846914"/>
            <ac:spMk id="4" creationId="{34331036-16DA-4F95-9B50-76505009B08A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9T10:06:36.603" v="532" actId="20577"/>
        <pc:sldMkLst>
          <pc:docMk/>
          <pc:sldMk cId="51186039" sldId="2146846915"/>
        </pc:sldMkLst>
        <pc:spChg chg="mod">
          <ac:chgData name="Thiebaut, Laurent (Nokia - FR/Paris-Saclay)" userId="5a0f83ef-4330-4e17-8828-eca8fc03b257" providerId="ADAL" clId="{61A4C03E-74DD-4A27-AE59-4BD329372724}" dt="2022-09-09T10:06:36.603" v="532" actId="20577"/>
          <ac:spMkLst>
            <pc:docMk/>
            <pc:sldMk cId="51186039" sldId="2146846915"/>
            <ac:spMk id="2" creationId="{1338ED7F-20BF-4E27-97D7-5280C072BA86}"/>
          </ac:spMkLst>
        </pc:spChg>
        <pc:spChg chg="mod">
          <ac:chgData name="Thiebaut, Laurent (Nokia - FR/Paris-Saclay)" userId="5a0f83ef-4330-4e17-8828-eca8fc03b257" providerId="ADAL" clId="{61A4C03E-74DD-4A27-AE59-4BD329372724}" dt="2022-09-09T10:06:27.716" v="529" actId="21"/>
          <ac:spMkLst>
            <pc:docMk/>
            <pc:sldMk cId="51186039" sldId="2146846915"/>
            <ac:spMk id="3" creationId="{740B4893-628C-4B3F-AD46-F9B2F073E0E6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9T10:06:56.521" v="536" actId="20577"/>
        <pc:sldMkLst>
          <pc:docMk/>
          <pc:sldMk cId="3531694244" sldId="2146846916"/>
        </pc:sldMkLst>
        <pc:spChg chg="mod">
          <ac:chgData name="Thiebaut, Laurent (Nokia - FR/Paris-Saclay)" userId="5a0f83ef-4330-4e17-8828-eca8fc03b257" providerId="ADAL" clId="{61A4C03E-74DD-4A27-AE59-4BD329372724}" dt="2022-09-09T10:06:56.521" v="536" actId="20577"/>
          <ac:spMkLst>
            <pc:docMk/>
            <pc:sldMk cId="3531694244" sldId="2146846916"/>
            <ac:spMk id="2" creationId="{65D9196A-ADF4-45E4-B58E-1585932F7426}"/>
          </ac:spMkLst>
        </pc:spChg>
        <pc:spChg chg="mod">
          <ac:chgData name="Thiebaut, Laurent (Nokia - FR/Paris-Saclay)" userId="5a0f83ef-4330-4e17-8828-eca8fc03b257" providerId="ADAL" clId="{61A4C03E-74DD-4A27-AE59-4BD329372724}" dt="2022-09-09T10:06:52.270" v="534" actId="21"/>
          <ac:spMkLst>
            <pc:docMk/>
            <pc:sldMk cId="3531694244" sldId="2146846916"/>
            <ac:spMk id="3" creationId="{79E872E0-7691-4C71-A9C5-52FF96CED43B}"/>
          </ac:spMkLst>
        </pc:spChg>
      </pc:sldChg>
      <pc:sldChg chg="modSp add mod">
        <pc:chgData name="Thiebaut, Laurent (Nokia - FR/Paris-Saclay)" userId="5a0f83ef-4330-4e17-8828-eca8fc03b257" providerId="ADAL" clId="{61A4C03E-74DD-4A27-AE59-4BD329372724}" dt="2022-09-07T06:12:00.937" v="265" actId="27636"/>
        <pc:sldMkLst>
          <pc:docMk/>
          <pc:sldMk cId="945775949" sldId="2146846918"/>
        </pc:sldMkLst>
        <pc:spChg chg="mod">
          <ac:chgData name="Thiebaut, Laurent (Nokia - FR/Paris-Saclay)" userId="5a0f83ef-4330-4e17-8828-eca8fc03b257" providerId="ADAL" clId="{61A4C03E-74DD-4A27-AE59-4BD329372724}" dt="2022-09-07T06:12:00.937" v="265" actId="27636"/>
          <ac:spMkLst>
            <pc:docMk/>
            <pc:sldMk cId="945775949" sldId="2146846918"/>
            <ac:spMk id="5" creationId="{0A813F0E-7224-42E6-A359-B5A9B05FEE7A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9T09:19:43.496" v="294" actId="20577"/>
        <pc:sldMkLst>
          <pc:docMk/>
          <pc:sldMk cId="4241780383" sldId="2146846932"/>
        </pc:sldMkLst>
        <pc:spChg chg="mod">
          <ac:chgData name="Thiebaut, Laurent (Nokia - FR/Paris-Saclay)" userId="5a0f83ef-4330-4e17-8828-eca8fc03b257" providerId="ADAL" clId="{61A4C03E-74DD-4A27-AE59-4BD329372724}" dt="2022-09-09T09:19:43.496" v="294" actId="20577"/>
          <ac:spMkLst>
            <pc:docMk/>
            <pc:sldMk cId="4241780383" sldId="2146846932"/>
            <ac:spMk id="4" creationId="{CD72C33D-DF40-4601-AF02-8DFD5A6EA958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9T09:39:57.399" v="373" actId="404"/>
        <pc:sldMkLst>
          <pc:docMk/>
          <pc:sldMk cId="1913528199" sldId="2146846934"/>
        </pc:sldMkLst>
        <pc:spChg chg="mod">
          <ac:chgData name="Thiebaut, Laurent (Nokia - FR/Paris-Saclay)" userId="5a0f83ef-4330-4e17-8828-eca8fc03b257" providerId="ADAL" clId="{61A4C03E-74DD-4A27-AE59-4BD329372724}" dt="2022-09-09T09:39:57.399" v="373" actId="404"/>
          <ac:spMkLst>
            <pc:docMk/>
            <pc:sldMk cId="1913528199" sldId="2146846934"/>
            <ac:spMk id="4" creationId="{FC0D3EA9-8686-465E-AF3E-02775AA807DF}"/>
          </ac:spMkLst>
        </pc:spChg>
        <pc:spChg chg="mod">
          <ac:chgData name="Thiebaut, Laurent (Nokia - FR/Paris-Saclay)" userId="5a0f83ef-4330-4e17-8828-eca8fc03b257" providerId="ADAL" clId="{61A4C03E-74DD-4A27-AE59-4BD329372724}" dt="2022-09-09T09:38:57.514" v="340" actId="1076"/>
          <ac:spMkLst>
            <pc:docMk/>
            <pc:sldMk cId="1913528199" sldId="2146846934"/>
            <ac:spMk id="15" creationId="{781F9AC9-2C66-46FB-BE25-88D9DF402494}"/>
          </ac:spMkLst>
        </pc:spChg>
        <pc:spChg chg="mod">
          <ac:chgData name="Thiebaut, Laurent (Nokia - FR/Paris-Saclay)" userId="5a0f83ef-4330-4e17-8828-eca8fc03b257" providerId="ADAL" clId="{61A4C03E-74DD-4A27-AE59-4BD329372724}" dt="2022-09-09T09:38:47.737" v="339" actId="1035"/>
          <ac:spMkLst>
            <pc:docMk/>
            <pc:sldMk cId="1913528199" sldId="2146846934"/>
            <ac:spMk id="16" creationId="{615FB3A6-4D13-4985-B5FC-4E0D2B52B143}"/>
          </ac:spMkLst>
        </pc:spChg>
        <pc:spChg chg="mod">
          <ac:chgData name="Thiebaut, Laurent (Nokia - FR/Paris-Saclay)" userId="5a0f83ef-4330-4e17-8828-eca8fc03b257" providerId="ADAL" clId="{61A4C03E-74DD-4A27-AE59-4BD329372724}" dt="2022-09-09T09:38:47.737" v="339" actId="1035"/>
          <ac:spMkLst>
            <pc:docMk/>
            <pc:sldMk cId="1913528199" sldId="2146846934"/>
            <ac:spMk id="17" creationId="{926581CA-BA99-472D-A096-92B68FF792BF}"/>
          </ac:spMkLst>
        </pc:spChg>
        <pc:spChg chg="mod">
          <ac:chgData name="Thiebaut, Laurent (Nokia - FR/Paris-Saclay)" userId="5a0f83ef-4330-4e17-8828-eca8fc03b257" providerId="ADAL" clId="{61A4C03E-74DD-4A27-AE59-4BD329372724}" dt="2022-09-09T09:38:47.737" v="339" actId="1035"/>
          <ac:spMkLst>
            <pc:docMk/>
            <pc:sldMk cId="1913528199" sldId="2146846934"/>
            <ac:spMk id="18" creationId="{8B7FB87F-6744-49B5-9C60-EF19CC8F9527}"/>
          </ac:spMkLst>
        </pc:spChg>
        <pc:spChg chg="mod">
          <ac:chgData name="Thiebaut, Laurent (Nokia - FR/Paris-Saclay)" userId="5a0f83ef-4330-4e17-8828-eca8fc03b257" providerId="ADAL" clId="{61A4C03E-74DD-4A27-AE59-4BD329372724}" dt="2022-09-09T09:38:47.737" v="339" actId="1035"/>
          <ac:spMkLst>
            <pc:docMk/>
            <pc:sldMk cId="1913528199" sldId="2146846934"/>
            <ac:spMk id="19" creationId="{56CFD6A5-7E17-4E33-83AD-5C9B969B89E6}"/>
          </ac:spMkLst>
        </pc:spChg>
        <pc:spChg chg="mod">
          <ac:chgData name="Thiebaut, Laurent (Nokia - FR/Paris-Saclay)" userId="5a0f83ef-4330-4e17-8828-eca8fc03b257" providerId="ADAL" clId="{61A4C03E-74DD-4A27-AE59-4BD329372724}" dt="2022-09-09T09:39:02.104" v="341" actId="1076"/>
          <ac:spMkLst>
            <pc:docMk/>
            <pc:sldMk cId="1913528199" sldId="2146846934"/>
            <ac:spMk id="21" creationId="{5259DD4B-A260-4356-A0AC-0C6D39B97B05}"/>
          </ac:spMkLst>
        </pc:spChg>
      </pc:sldChg>
      <pc:sldChg chg="modSp add mod ord">
        <pc:chgData name="Thiebaut, Laurent (Nokia - FR/Paris-Saclay)" userId="5a0f83ef-4330-4e17-8828-eca8fc03b257" providerId="ADAL" clId="{61A4C03E-74DD-4A27-AE59-4BD329372724}" dt="2022-09-06T17:06:42.416" v="260" actId="404"/>
        <pc:sldMkLst>
          <pc:docMk/>
          <pc:sldMk cId="3443280728" sldId="2146846935"/>
        </pc:sldMkLst>
        <pc:spChg chg="mod">
          <ac:chgData name="Thiebaut, Laurent (Nokia - FR/Paris-Saclay)" userId="5a0f83ef-4330-4e17-8828-eca8fc03b257" providerId="ADAL" clId="{61A4C03E-74DD-4A27-AE59-4BD329372724}" dt="2022-09-06T17:06:42.416" v="260" actId="404"/>
          <ac:spMkLst>
            <pc:docMk/>
            <pc:sldMk cId="3443280728" sldId="2146846935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61A4C03E-74DD-4A27-AE59-4BD329372724}" dt="2022-09-06T17:05:50.189" v="255" actId="313"/>
          <ac:spMkLst>
            <pc:docMk/>
            <pc:sldMk cId="3443280728" sldId="2146846935"/>
            <ac:spMk id="3" creationId="{506A8607-C5AE-48A7-9AC8-7B6F426DD14D}"/>
          </ac:spMkLst>
        </pc:spChg>
      </pc:sldChg>
      <pc:sldChg chg="modSp mod">
        <pc:chgData name="Thiebaut, Laurent (Nokia - FR/Paris-Saclay)" userId="5a0f83ef-4330-4e17-8828-eca8fc03b257" providerId="ADAL" clId="{61A4C03E-74DD-4A27-AE59-4BD329372724}" dt="2022-09-09T10:10:53.392" v="579" actId="20577"/>
        <pc:sldMkLst>
          <pc:docMk/>
          <pc:sldMk cId="4135317378" sldId="2146846949"/>
        </pc:sldMkLst>
        <pc:spChg chg="mod">
          <ac:chgData name="Thiebaut, Laurent (Nokia - FR/Paris-Saclay)" userId="5a0f83ef-4330-4e17-8828-eca8fc03b257" providerId="ADAL" clId="{61A4C03E-74DD-4A27-AE59-4BD329372724}" dt="2022-09-09T10:10:53.392" v="579" actId="20577"/>
          <ac:spMkLst>
            <pc:docMk/>
            <pc:sldMk cId="4135317378" sldId="2146846949"/>
            <ac:spMk id="8" creationId="{F33D3D28-799C-427F-86FD-5638A2F8CB9D}"/>
          </ac:spMkLst>
        </pc:spChg>
      </pc:sldChg>
      <pc:sldChg chg="ord">
        <pc:chgData name="Thiebaut, Laurent (Nokia - FR/Paris-Saclay)" userId="5a0f83ef-4330-4e17-8828-eca8fc03b257" providerId="ADAL" clId="{61A4C03E-74DD-4A27-AE59-4BD329372724}" dt="2022-09-08T18:42:32.978" v="270"/>
        <pc:sldMkLst>
          <pc:docMk/>
          <pc:sldMk cId="3101478688" sldId="2146846950"/>
        </pc:sldMkLst>
      </pc:sldChg>
      <pc:sldChg chg="ord">
        <pc:chgData name="Thiebaut, Laurent (Nokia - FR/Paris-Saclay)" userId="5a0f83ef-4330-4e17-8828-eca8fc03b257" providerId="ADAL" clId="{61A4C03E-74DD-4A27-AE59-4BD329372724}" dt="2022-09-08T18:42:32.978" v="270"/>
        <pc:sldMkLst>
          <pc:docMk/>
          <pc:sldMk cId="4106468363" sldId="2146846951"/>
        </pc:sldMkLst>
      </pc:sldChg>
      <pc:sldChg chg="add">
        <pc:chgData name="Thiebaut, Laurent (Nokia - FR/Paris-Saclay)" userId="5a0f83ef-4330-4e17-8828-eca8fc03b257" providerId="ADAL" clId="{61A4C03E-74DD-4A27-AE59-4BD329372724}" dt="2022-09-09T10:11:53.095" v="580"/>
        <pc:sldMkLst>
          <pc:docMk/>
          <pc:sldMk cId="1479038244" sldId="2146846952"/>
        </pc:sldMkLst>
      </pc:sldChg>
      <pc:sldChg chg="addSp delSp modSp add mod ord modClrScheme chgLayout">
        <pc:chgData name="Thiebaut, Laurent (Nokia - FR/Paris-Saclay)" userId="5a0f83ef-4330-4e17-8828-eca8fc03b257" providerId="ADAL" clId="{61A4C03E-74DD-4A27-AE59-4BD329372724}" dt="2022-09-09T10:26:34.346" v="710" actId="6549"/>
        <pc:sldMkLst>
          <pc:docMk/>
          <pc:sldMk cId="870368088" sldId="2146846953"/>
        </pc:sldMkLst>
        <pc:spChg chg="del mod">
          <ac:chgData name="Thiebaut, Laurent (Nokia - FR/Paris-Saclay)" userId="5a0f83ef-4330-4e17-8828-eca8fc03b257" providerId="ADAL" clId="{61A4C03E-74DD-4A27-AE59-4BD329372724}" dt="2022-09-09T10:20:01.623" v="665" actId="700"/>
          <ac:spMkLst>
            <pc:docMk/>
            <pc:sldMk cId="870368088" sldId="2146846953"/>
            <ac:spMk id="2" creationId="{BD83F52A-3621-4544-9570-67A180D25B1B}"/>
          </ac:spMkLst>
        </pc:spChg>
        <pc:spChg chg="add mod">
          <ac:chgData name="Thiebaut, Laurent (Nokia - FR/Paris-Saclay)" userId="5a0f83ef-4330-4e17-8828-eca8fc03b257" providerId="ADAL" clId="{61A4C03E-74DD-4A27-AE59-4BD329372724}" dt="2022-09-09T10:20:26.995" v="669" actId="21"/>
          <ac:spMkLst>
            <pc:docMk/>
            <pc:sldMk cId="870368088" sldId="2146846953"/>
            <ac:spMk id="6" creationId="{BE1FECEB-7B1A-466B-A274-B543DB75756D}"/>
          </ac:spMkLst>
        </pc:spChg>
        <pc:spChg chg="add del mod ord">
          <ac:chgData name="Thiebaut, Laurent (Nokia - FR/Paris-Saclay)" userId="5a0f83ef-4330-4e17-8828-eca8fc03b257" providerId="ADAL" clId="{61A4C03E-74DD-4A27-AE59-4BD329372724}" dt="2022-09-09T10:20:13.043" v="667" actId="478"/>
          <ac:spMkLst>
            <pc:docMk/>
            <pc:sldMk cId="870368088" sldId="2146846953"/>
            <ac:spMk id="7" creationId="{DD840D2D-66FB-4ED6-87EE-37BE8B0DFA71}"/>
          </ac:spMkLst>
        </pc:spChg>
        <pc:spChg chg="add mod ord">
          <ac:chgData name="Thiebaut, Laurent (Nokia - FR/Paris-Saclay)" userId="5a0f83ef-4330-4e17-8828-eca8fc03b257" providerId="ADAL" clId="{61A4C03E-74DD-4A27-AE59-4BD329372724}" dt="2022-09-09T10:20:41.578" v="671" actId="1076"/>
          <ac:spMkLst>
            <pc:docMk/>
            <pc:sldMk cId="870368088" sldId="2146846953"/>
            <ac:spMk id="8" creationId="{9A583AE9-CCCF-4D93-8B31-F55503A7FF59}"/>
          </ac:spMkLst>
        </pc:spChg>
        <pc:graphicFrameChg chg="del">
          <ac:chgData name="Thiebaut, Laurent (Nokia - FR/Paris-Saclay)" userId="5a0f83ef-4330-4e17-8828-eca8fc03b257" providerId="ADAL" clId="{61A4C03E-74DD-4A27-AE59-4BD329372724}" dt="2022-09-09T10:15:00.693" v="582" actId="478"/>
          <ac:graphicFrameMkLst>
            <pc:docMk/>
            <pc:sldMk cId="870368088" sldId="2146846953"/>
            <ac:graphicFrameMk id="3" creationId="{967DC7A1-6DA2-4BEB-A9C9-BE5C747BEBF9}"/>
          </ac:graphicFrameMkLst>
        </pc:graphicFrameChg>
        <pc:graphicFrameChg chg="add del mod">
          <ac:chgData name="Thiebaut, Laurent (Nokia - FR/Paris-Saclay)" userId="5a0f83ef-4330-4e17-8828-eca8fc03b257" providerId="ADAL" clId="{61A4C03E-74DD-4A27-AE59-4BD329372724}" dt="2022-09-09T10:15:36.434" v="603"/>
          <ac:graphicFrameMkLst>
            <pc:docMk/>
            <pc:sldMk cId="870368088" sldId="2146846953"/>
            <ac:graphicFrameMk id="4" creationId="{E984F678-5640-4B84-937F-255827F3AF45}"/>
          </ac:graphicFrameMkLst>
        </pc:graphicFrameChg>
        <pc:graphicFrameChg chg="add mod modGraphic">
          <ac:chgData name="Thiebaut, Laurent (Nokia - FR/Paris-Saclay)" userId="5a0f83ef-4330-4e17-8828-eca8fc03b257" providerId="ADAL" clId="{61A4C03E-74DD-4A27-AE59-4BD329372724}" dt="2022-09-09T10:26:34.346" v="710" actId="6549"/>
          <ac:graphicFrameMkLst>
            <pc:docMk/>
            <pc:sldMk cId="870368088" sldId="2146846953"/>
            <ac:graphicFrameMk id="5" creationId="{72292819-8568-4BDF-9D17-E4BA66E2B6E4}"/>
          </ac:graphicFrameMkLst>
        </pc:graphicFrameChg>
      </pc:sldChg>
      <pc:sldChg chg="modSp add del mod">
        <pc:chgData name="Thiebaut, Laurent (Nokia - FR/Paris-Saclay)" userId="5a0f83ef-4330-4e17-8828-eca8fc03b257" providerId="ADAL" clId="{61A4C03E-74DD-4A27-AE59-4BD329372724}" dt="2022-09-09T10:21:00.865" v="673" actId="47"/>
        <pc:sldMkLst>
          <pc:docMk/>
          <pc:sldMk cId="3537779776" sldId="2146846954"/>
        </pc:sldMkLst>
        <pc:spChg chg="mod">
          <ac:chgData name="Thiebaut, Laurent (Nokia - FR/Paris-Saclay)" userId="5a0f83ef-4330-4e17-8828-eca8fc03b257" providerId="ADAL" clId="{61A4C03E-74DD-4A27-AE59-4BD329372724}" dt="2022-09-09T10:18:09.211" v="652" actId="120"/>
          <ac:spMkLst>
            <pc:docMk/>
            <pc:sldMk cId="3537779776" sldId="2146846954"/>
            <ac:spMk id="2" creationId="{BD83F52A-3621-4544-9570-67A180D25B1B}"/>
          </ac:spMkLst>
        </pc:spChg>
      </pc:sldChg>
      <pc:sldChg chg="addSp delSp modSp add mod">
        <pc:chgData name="Thiebaut, Laurent (Nokia - FR/Paris-Saclay)" userId="5a0f83ef-4330-4e17-8828-eca8fc03b257" providerId="ADAL" clId="{61A4C03E-74DD-4A27-AE59-4BD329372724}" dt="2022-09-09T10:25:26.715" v="702" actId="14100"/>
        <pc:sldMkLst>
          <pc:docMk/>
          <pc:sldMk cId="3583113208" sldId="2146846955"/>
        </pc:sldMkLst>
        <pc:graphicFrameChg chg="add mod modGraphic">
          <ac:chgData name="Thiebaut, Laurent (Nokia - FR/Paris-Saclay)" userId="5a0f83ef-4330-4e17-8828-eca8fc03b257" providerId="ADAL" clId="{61A4C03E-74DD-4A27-AE59-4BD329372724}" dt="2022-09-09T10:25:26.715" v="702" actId="14100"/>
          <ac:graphicFrameMkLst>
            <pc:docMk/>
            <pc:sldMk cId="3583113208" sldId="2146846955"/>
            <ac:graphicFrameMk id="2" creationId="{4BA8B85C-16D4-4DB1-851D-20FCA2E21922}"/>
          </ac:graphicFrameMkLst>
        </pc:graphicFrameChg>
        <pc:graphicFrameChg chg="del">
          <ac:chgData name="Thiebaut, Laurent (Nokia - FR/Paris-Saclay)" userId="5a0f83ef-4330-4e17-8828-eca8fc03b257" providerId="ADAL" clId="{61A4C03E-74DD-4A27-AE59-4BD329372724}" dt="2022-09-09T10:21:14.182" v="674" actId="478"/>
          <ac:graphicFrameMkLst>
            <pc:docMk/>
            <pc:sldMk cId="3583113208" sldId="2146846955"/>
            <ac:graphicFrameMk id="5" creationId="{72292819-8568-4BDF-9D17-E4BA66E2B6E4}"/>
          </ac:graphicFrameMkLst>
        </pc:graphicFrameChg>
      </pc:sldChg>
      <pc:sldChg chg="addSp delSp modSp add mod ord">
        <pc:chgData name="Thiebaut, Laurent (Nokia - FR/Paris-Saclay)" userId="5a0f83ef-4330-4e17-8828-eca8fc03b257" providerId="ADAL" clId="{61A4C03E-74DD-4A27-AE59-4BD329372724}" dt="2022-09-09T10:25:50.679" v="705" actId="1076"/>
        <pc:sldMkLst>
          <pc:docMk/>
          <pc:sldMk cId="232126719" sldId="2146846956"/>
        </pc:sldMkLst>
        <pc:graphicFrameChg chg="add del mod">
          <ac:chgData name="Thiebaut, Laurent (Nokia - FR/Paris-Saclay)" userId="5a0f83ef-4330-4e17-8828-eca8fc03b257" providerId="ADAL" clId="{61A4C03E-74DD-4A27-AE59-4BD329372724}" dt="2022-09-09T10:22:07.705" v="677"/>
          <ac:graphicFrameMkLst>
            <pc:docMk/>
            <pc:sldMk cId="232126719" sldId="2146846956"/>
            <ac:graphicFrameMk id="2" creationId="{CD9F2EA9-DFF0-4B92-B09E-081C6520435B}"/>
          </ac:graphicFrameMkLst>
        </pc:graphicFrameChg>
        <pc:graphicFrameChg chg="add mod modGraphic">
          <ac:chgData name="Thiebaut, Laurent (Nokia - FR/Paris-Saclay)" userId="5a0f83ef-4330-4e17-8828-eca8fc03b257" providerId="ADAL" clId="{61A4C03E-74DD-4A27-AE59-4BD329372724}" dt="2022-09-09T10:25:50.679" v="705" actId="1076"/>
          <ac:graphicFrameMkLst>
            <pc:docMk/>
            <pc:sldMk cId="232126719" sldId="2146846956"/>
            <ac:graphicFrameMk id="3" creationId="{B640B034-6063-4FA1-B023-60C1415680DB}"/>
          </ac:graphicFrameMkLst>
        </pc:graphicFrameChg>
      </pc:sldChg>
      <pc:sldMasterChg chg="delSldLayout">
        <pc:chgData name="Thiebaut, Laurent (Nokia - FR/Paris-Saclay)" userId="5a0f83ef-4330-4e17-8828-eca8fc03b257" providerId="ADAL" clId="{61A4C03E-74DD-4A27-AE59-4BD329372724}" dt="2022-09-06T15:39:35.973" v="14" actId="47"/>
        <pc:sldMasterMkLst>
          <pc:docMk/>
          <pc:sldMasterMk cId="4241891639" sldId="2147483650"/>
        </pc:sldMasterMkLst>
        <pc:sldLayoutChg chg="del">
          <pc:chgData name="Thiebaut, Laurent (Nokia - FR/Paris-Saclay)" userId="5a0f83ef-4330-4e17-8828-eca8fc03b257" providerId="ADAL" clId="{61A4C03E-74DD-4A27-AE59-4BD329372724}" dt="2022-09-06T15:39:35.973" v="14" actId="47"/>
          <pc:sldLayoutMkLst>
            <pc:docMk/>
            <pc:sldMasterMk cId="4241891639" sldId="2147483650"/>
            <pc:sldLayoutMk cId="3786181558" sldId="2147483780"/>
          </pc:sldLayoutMkLst>
        </pc:sldLayoutChg>
      </pc:sldMasterChg>
    </pc:docChg>
  </pc:docChgLst>
  <pc:docChgLst>
    <pc:chgData name="Chandramouli, Devaki (Nokia - US/Dallas)" userId="ebf2a9f8-651b-4485-926f-9d93c0eafbc5" providerId="ADAL" clId="{F5B69FA6-A9BD-4935-B819-65A4CE4A01CF}"/>
    <pc:docChg chg="undo custSel addSld delSld modSld sldOrd">
      <pc:chgData name="Chandramouli, Devaki (Nokia - US/Dallas)" userId="ebf2a9f8-651b-4485-926f-9d93c0eafbc5" providerId="ADAL" clId="{F5B69FA6-A9BD-4935-B819-65A4CE4A01CF}" dt="2020-02-02T17:23:58" v="1847"/>
      <pc:docMkLst>
        <pc:docMk/>
      </pc:docMkLst>
      <pc:sldChg chg="ord">
        <pc:chgData name="Chandramouli, Devaki (Nokia - US/Dallas)" userId="ebf2a9f8-651b-4485-926f-9d93c0eafbc5" providerId="ADAL" clId="{F5B69FA6-A9BD-4935-B819-65A4CE4A01CF}" dt="2020-02-02T16:56:16.928" v="1604"/>
        <pc:sldMkLst>
          <pc:docMk/>
          <pc:sldMk cId="3895199413" sldId="260"/>
        </pc:sldMkLst>
      </pc:sldChg>
      <pc:sldChg chg="modSp">
        <pc:chgData name="Chandramouli, Devaki (Nokia - US/Dallas)" userId="ebf2a9f8-651b-4485-926f-9d93c0eafbc5" providerId="ADAL" clId="{F5B69FA6-A9BD-4935-B819-65A4CE4A01CF}" dt="2020-02-02T16:55:48.739" v="1603" actId="20577"/>
        <pc:sldMkLst>
          <pc:docMk/>
          <pc:sldMk cId="1130529890" sldId="271"/>
        </pc:sldMkLst>
        <pc:graphicFrameChg chg="mod modGraphic">
          <ac:chgData name="Chandramouli, Devaki (Nokia - US/Dallas)" userId="ebf2a9f8-651b-4485-926f-9d93c0eafbc5" providerId="ADAL" clId="{F5B69FA6-A9BD-4935-B819-65A4CE4A01CF}" dt="2020-02-02T16:55:48.739" v="1603" actId="20577"/>
          <ac:graphicFrameMkLst>
            <pc:docMk/>
            <pc:sldMk cId="1130529890" sldId="271"/>
            <ac:graphicFrameMk id="5" creationId="{A13B8FE0-9970-4164-A136-C1D599E1B5CE}"/>
          </ac:graphicFrameMkLst>
        </pc:graphicFrameChg>
      </pc:sldChg>
      <pc:sldChg chg="modSp">
        <pc:chgData name="Chandramouli, Devaki (Nokia - US/Dallas)" userId="ebf2a9f8-651b-4485-926f-9d93c0eafbc5" providerId="ADAL" clId="{F5B69FA6-A9BD-4935-B819-65A4CE4A01CF}" dt="2020-02-02T17:00:32.099" v="1617" actId="20577"/>
        <pc:sldMkLst>
          <pc:docMk/>
          <pc:sldMk cId="376794098" sldId="272"/>
        </pc:sldMkLst>
        <pc:spChg chg="mod">
          <ac:chgData name="Chandramouli, Devaki (Nokia - US/Dallas)" userId="ebf2a9f8-651b-4485-926f-9d93c0eafbc5" providerId="ADAL" clId="{F5B69FA6-A9BD-4935-B819-65A4CE4A01CF}" dt="2020-02-02T17:00:32.099" v="1617" actId="20577"/>
          <ac:spMkLst>
            <pc:docMk/>
            <pc:sldMk cId="376794098" sldId="272"/>
            <ac:spMk id="5" creationId="{0A813F0E-7224-42E6-A359-B5A9B05FEE7A}"/>
          </ac:spMkLst>
        </pc:spChg>
      </pc:sldChg>
      <pc:sldChg chg="ord">
        <pc:chgData name="Chandramouli, Devaki (Nokia - US/Dallas)" userId="ebf2a9f8-651b-4485-926f-9d93c0eafbc5" providerId="ADAL" clId="{F5B69FA6-A9BD-4935-B819-65A4CE4A01CF}" dt="2020-02-02T16:58:40.627" v="1609"/>
        <pc:sldMkLst>
          <pc:docMk/>
          <pc:sldMk cId="350768357" sldId="274"/>
        </pc:sldMkLst>
      </pc:sldChg>
      <pc:sldChg chg="ord">
        <pc:chgData name="Chandramouli, Devaki (Nokia - US/Dallas)" userId="ebf2a9f8-651b-4485-926f-9d93c0eafbc5" providerId="ADAL" clId="{F5B69FA6-A9BD-4935-B819-65A4CE4A01CF}" dt="2020-02-02T16:57:42.350" v="1606"/>
        <pc:sldMkLst>
          <pc:docMk/>
          <pc:sldMk cId="3153064115" sldId="275"/>
        </pc:sldMkLst>
      </pc:sldChg>
      <pc:sldChg chg="modSp">
        <pc:chgData name="Chandramouli, Devaki (Nokia - US/Dallas)" userId="ebf2a9f8-651b-4485-926f-9d93c0eafbc5" providerId="ADAL" clId="{F5B69FA6-A9BD-4935-B819-65A4CE4A01CF}" dt="2020-02-02T17:19:24.535" v="1693" actId="20577"/>
        <pc:sldMkLst>
          <pc:docMk/>
          <pc:sldMk cId="1709557886" sldId="279"/>
        </pc:sldMkLst>
        <pc:spChg chg="mod">
          <ac:chgData name="Chandramouli, Devaki (Nokia - US/Dallas)" userId="ebf2a9f8-651b-4485-926f-9d93c0eafbc5" providerId="ADAL" clId="{F5B69FA6-A9BD-4935-B819-65A4CE4A01CF}" dt="2020-02-02T17:19:24.535" v="1693" actId="20577"/>
          <ac:spMkLst>
            <pc:docMk/>
            <pc:sldMk cId="1709557886" sldId="279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32:08.774" v="630" actId="20577"/>
          <ac:spMkLst>
            <pc:docMk/>
            <pc:sldMk cId="1709557886" sldId="279"/>
            <ac:spMk id="5" creationId="{A560F786-3A6C-41F0-99EF-DFF4DE7F777C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19:33.019" v="1697" actId="20577"/>
        <pc:sldMkLst>
          <pc:docMk/>
          <pc:sldMk cId="1389723289" sldId="280"/>
        </pc:sldMkLst>
        <pc:spChg chg="mod">
          <ac:chgData name="Chandramouli, Devaki (Nokia - US/Dallas)" userId="ebf2a9f8-651b-4485-926f-9d93c0eafbc5" providerId="ADAL" clId="{F5B69FA6-A9BD-4935-B819-65A4CE4A01CF}" dt="2020-02-02T17:19:33.019" v="1697" actId="20577"/>
          <ac:spMkLst>
            <pc:docMk/>
            <pc:sldMk cId="1389723289" sldId="280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01:09:01.100" v="96" actId="20577"/>
          <ac:spMkLst>
            <pc:docMk/>
            <pc:sldMk cId="1389723289" sldId="280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19:37.710" v="1699" actId="20577"/>
        <pc:sldMkLst>
          <pc:docMk/>
          <pc:sldMk cId="2373054351" sldId="281"/>
        </pc:sldMkLst>
        <pc:spChg chg="mod">
          <ac:chgData name="Chandramouli, Devaki (Nokia - US/Dallas)" userId="ebf2a9f8-651b-4485-926f-9d93c0eafbc5" providerId="ADAL" clId="{F5B69FA6-A9BD-4935-B819-65A4CE4A01CF}" dt="2020-02-02T17:19:37.710" v="1699" actId="20577"/>
          <ac:spMkLst>
            <pc:docMk/>
            <pc:sldMk cId="2373054351" sldId="281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01:10:17.160" v="180" actId="20577"/>
          <ac:spMkLst>
            <pc:docMk/>
            <pc:sldMk cId="2373054351" sldId="281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20:03.337" v="1706"/>
        <pc:sldMkLst>
          <pc:docMk/>
          <pc:sldMk cId="1074351315" sldId="283"/>
        </pc:sldMkLst>
        <pc:spChg chg="mod">
          <ac:chgData name="Chandramouli, Devaki (Nokia - US/Dallas)" userId="ebf2a9f8-651b-4485-926f-9d93c0eafbc5" providerId="ADAL" clId="{F5B69FA6-A9BD-4935-B819-65A4CE4A01CF}" dt="2020-02-02T17:20:03.337" v="1706"/>
          <ac:spMkLst>
            <pc:docMk/>
            <pc:sldMk cId="1074351315" sldId="283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39:11.889" v="658" actId="20577"/>
          <ac:spMkLst>
            <pc:docMk/>
            <pc:sldMk cId="1074351315" sldId="283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20:07.709" v="1707"/>
        <pc:sldMkLst>
          <pc:docMk/>
          <pc:sldMk cId="3072010189" sldId="284"/>
        </pc:sldMkLst>
        <pc:spChg chg="mod">
          <ac:chgData name="Chandramouli, Devaki (Nokia - US/Dallas)" userId="ebf2a9f8-651b-4485-926f-9d93c0eafbc5" providerId="ADAL" clId="{F5B69FA6-A9BD-4935-B819-65A4CE4A01CF}" dt="2020-02-02T17:20:07.709" v="1707"/>
          <ac:spMkLst>
            <pc:docMk/>
            <pc:sldMk cId="3072010189" sldId="284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39:47.672" v="723" actId="20577"/>
          <ac:spMkLst>
            <pc:docMk/>
            <pc:sldMk cId="3072010189" sldId="284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19:19.149" v="1691" actId="20577"/>
        <pc:sldMkLst>
          <pc:docMk/>
          <pc:sldMk cId="2244628399" sldId="285"/>
        </pc:sldMkLst>
        <pc:spChg chg="mod">
          <ac:chgData name="Chandramouli, Devaki (Nokia - US/Dallas)" userId="ebf2a9f8-651b-4485-926f-9d93c0eafbc5" providerId="ADAL" clId="{F5B69FA6-A9BD-4935-B819-65A4CE4A01CF}" dt="2020-02-02T17:19:19.149" v="1691" actId="20577"/>
          <ac:spMkLst>
            <pc:docMk/>
            <pc:sldMk cId="2244628399" sldId="285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49:04.181" v="1255" actId="20577"/>
          <ac:spMkLst>
            <pc:docMk/>
            <pc:sldMk cId="2244628399" sldId="285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17:19.011" v="1676" actId="20577"/>
        <pc:sldMkLst>
          <pc:docMk/>
          <pc:sldMk cId="4155464073" sldId="286"/>
        </pc:sldMkLst>
        <pc:spChg chg="mod">
          <ac:chgData name="Chandramouli, Devaki (Nokia - US/Dallas)" userId="ebf2a9f8-651b-4485-926f-9d93c0eafbc5" providerId="ADAL" clId="{F5B69FA6-A9BD-4935-B819-65A4CE4A01CF}" dt="2020-02-02T17:17:19.011" v="1676" actId="20577"/>
          <ac:spMkLst>
            <pc:docMk/>
            <pc:sldMk cId="4155464073" sldId="286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40:43.110" v="820" actId="20577"/>
          <ac:spMkLst>
            <pc:docMk/>
            <pc:sldMk cId="4155464073" sldId="286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19:28.923" v="1695" actId="20577"/>
        <pc:sldMkLst>
          <pc:docMk/>
          <pc:sldMk cId="1172224137" sldId="287"/>
        </pc:sldMkLst>
        <pc:spChg chg="mod">
          <ac:chgData name="Chandramouli, Devaki (Nokia - US/Dallas)" userId="ebf2a9f8-651b-4485-926f-9d93c0eafbc5" providerId="ADAL" clId="{F5B69FA6-A9BD-4935-B819-65A4CE4A01CF}" dt="2020-02-02T17:19:28.923" v="1695" actId="20577"/>
          <ac:spMkLst>
            <pc:docMk/>
            <pc:sldMk cId="1172224137" sldId="287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01:09:55.151" v="157" actId="20577"/>
          <ac:spMkLst>
            <pc:docMk/>
            <pc:sldMk cId="1172224137" sldId="287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19:41.744" v="1701" actId="20577"/>
        <pc:sldMkLst>
          <pc:docMk/>
          <pc:sldMk cId="2557244844" sldId="288"/>
        </pc:sldMkLst>
        <pc:spChg chg="mod">
          <ac:chgData name="Chandramouli, Devaki (Nokia - US/Dallas)" userId="ebf2a9f8-651b-4485-926f-9d93c0eafbc5" providerId="ADAL" clId="{F5B69FA6-A9BD-4935-B819-65A4CE4A01CF}" dt="2020-02-02T17:19:41.744" v="1701" actId="20577"/>
          <ac:spMkLst>
            <pc:docMk/>
            <pc:sldMk cId="2557244844" sldId="288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01:11:14.405" v="254" actId="20577"/>
          <ac:spMkLst>
            <pc:docMk/>
            <pc:sldMk cId="2557244844" sldId="288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19:47.980" v="1703" actId="20577"/>
        <pc:sldMkLst>
          <pc:docMk/>
          <pc:sldMk cId="3687963215" sldId="289"/>
        </pc:sldMkLst>
        <pc:spChg chg="mod">
          <ac:chgData name="Chandramouli, Devaki (Nokia - US/Dallas)" userId="ebf2a9f8-651b-4485-926f-9d93c0eafbc5" providerId="ADAL" clId="{F5B69FA6-A9BD-4935-B819-65A4CE4A01CF}" dt="2020-02-02T17:19:47.980" v="1703" actId="20577"/>
          <ac:spMkLst>
            <pc:docMk/>
            <pc:sldMk cId="3687963215" sldId="289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01:11:00.371" v="211" actId="20577"/>
          <ac:spMkLst>
            <pc:docMk/>
            <pc:sldMk cId="3687963215" sldId="289"/>
            <ac:spMk id="4" creationId="{BDC7D266-0891-4430-9759-534065AEEEF3}"/>
          </ac:spMkLst>
        </pc:spChg>
      </pc:sldChg>
      <pc:sldChg chg="modSp add ord">
        <pc:chgData name="Chandramouli, Devaki (Nokia - US/Dallas)" userId="ebf2a9f8-651b-4485-926f-9d93c0eafbc5" providerId="ADAL" clId="{F5B69FA6-A9BD-4935-B819-65A4CE4A01CF}" dt="2020-02-02T16:58:14.195" v="1607"/>
        <pc:sldMkLst>
          <pc:docMk/>
          <pc:sldMk cId="1392594002" sldId="292"/>
        </pc:sldMkLst>
        <pc:spChg chg="mod">
          <ac:chgData name="Chandramouli, Devaki (Nokia - US/Dallas)" userId="ebf2a9f8-651b-4485-926f-9d93c0eafbc5" providerId="ADAL" clId="{F5B69FA6-A9BD-4935-B819-65A4CE4A01CF}" dt="2020-02-02T01:23:07.344" v="523" actId="20577"/>
          <ac:spMkLst>
            <pc:docMk/>
            <pc:sldMk cId="1392594002" sldId="292"/>
            <ac:spMk id="5" creationId="{A560F786-3A6C-41F0-99EF-DFF4DE7F777C}"/>
          </ac:spMkLst>
        </pc:spChg>
      </pc:sldChg>
      <pc:sldChg chg="modSp add ord">
        <pc:chgData name="Chandramouli, Devaki (Nokia - US/Dallas)" userId="ebf2a9f8-651b-4485-926f-9d93c0eafbc5" providerId="ADAL" clId="{F5B69FA6-A9BD-4935-B819-65A4CE4A01CF}" dt="2020-02-02T16:58:14.195" v="1607"/>
        <pc:sldMkLst>
          <pc:docMk/>
          <pc:sldMk cId="142503569" sldId="293"/>
        </pc:sldMkLst>
        <pc:spChg chg="mod">
          <ac:chgData name="Chandramouli, Devaki (Nokia - US/Dallas)" userId="ebf2a9f8-651b-4485-926f-9d93c0eafbc5" providerId="ADAL" clId="{F5B69FA6-A9BD-4935-B819-65A4CE4A01CF}" dt="2020-02-02T01:23:47.796" v="560" actId="20577"/>
          <ac:spMkLst>
            <pc:docMk/>
            <pc:sldMk cId="142503569" sldId="293"/>
            <ac:spMk id="5" creationId="{A560F786-3A6C-41F0-99EF-DFF4DE7F777C}"/>
          </ac:spMkLst>
        </pc:spChg>
      </pc:sldChg>
      <pc:sldChg chg="modSp add ord">
        <pc:chgData name="Chandramouli, Devaki (Nokia - US/Dallas)" userId="ebf2a9f8-651b-4485-926f-9d93c0eafbc5" providerId="ADAL" clId="{F5B69FA6-A9BD-4935-B819-65A4CE4A01CF}" dt="2020-02-02T16:58:14.195" v="1607"/>
        <pc:sldMkLst>
          <pc:docMk/>
          <pc:sldMk cId="3982377665" sldId="296"/>
        </pc:sldMkLst>
        <pc:spChg chg="mod">
          <ac:chgData name="Chandramouli, Devaki (Nokia - US/Dallas)" userId="ebf2a9f8-651b-4485-926f-9d93c0eafbc5" providerId="ADAL" clId="{F5B69FA6-A9BD-4935-B819-65A4CE4A01CF}" dt="2020-02-02T16:26:16.780" v="598" actId="20577"/>
          <ac:spMkLst>
            <pc:docMk/>
            <pc:sldMk cId="3982377665" sldId="296"/>
            <ac:spMk id="5" creationId="{A560F786-3A6C-41F0-99EF-DFF4DE7F777C}"/>
          </ac:spMkLst>
        </pc:spChg>
      </pc:sldChg>
      <pc:sldChg chg="modSp add ord">
        <pc:chgData name="Chandramouli, Devaki (Nokia - US/Dallas)" userId="ebf2a9f8-651b-4485-926f-9d93c0eafbc5" providerId="ADAL" clId="{F5B69FA6-A9BD-4935-B819-65A4CE4A01CF}" dt="2020-02-02T16:58:14.195" v="1607"/>
        <pc:sldMkLst>
          <pc:docMk/>
          <pc:sldMk cId="8711352" sldId="298"/>
        </pc:sldMkLst>
        <pc:spChg chg="mod">
          <ac:chgData name="Chandramouli, Devaki (Nokia - US/Dallas)" userId="ebf2a9f8-651b-4485-926f-9d93c0eafbc5" providerId="ADAL" clId="{F5B69FA6-A9BD-4935-B819-65A4CE4A01CF}" dt="2020-02-02T16:26:41.728" v="613" actId="20577"/>
          <ac:spMkLst>
            <pc:docMk/>
            <pc:sldMk cId="8711352" sldId="298"/>
            <ac:spMk id="5" creationId="{A560F786-3A6C-41F0-99EF-DFF4DE7F777C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20:18.572" v="1708"/>
        <pc:sldMkLst>
          <pc:docMk/>
          <pc:sldMk cId="1499451625" sldId="299"/>
        </pc:sldMkLst>
        <pc:spChg chg="mod">
          <ac:chgData name="Chandramouli, Devaki (Nokia - US/Dallas)" userId="ebf2a9f8-651b-4485-926f-9d93c0eafbc5" providerId="ADAL" clId="{F5B69FA6-A9BD-4935-B819-65A4CE4A01CF}" dt="2020-02-02T17:20:18.572" v="1708"/>
          <ac:spMkLst>
            <pc:docMk/>
            <pc:sldMk cId="1499451625" sldId="299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41:20.724" v="851" actId="20577"/>
          <ac:spMkLst>
            <pc:docMk/>
            <pc:sldMk cId="1499451625" sldId="299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22:00.550" v="1714"/>
        <pc:sldMkLst>
          <pc:docMk/>
          <pc:sldMk cId="4180799600" sldId="300"/>
        </pc:sldMkLst>
        <pc:spChg chg="mod">
          <ac:chgData name="Chandramouli, Devaki (Nokia - US/Dallas)" userId="ebf2a9f8-651b-4485-926f-9d93c0eafbc5" providerId="ADAL" clId="{F5B69FA6-A9BD-4935-B819-65A4CE4A01CF}" dt="2020-02-02T17:22:00.550" v="1714"/>
          <ac:spMkLst>
            <pc:docMk/>
            <pc:sldMk cId="4180799600" sldId="300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41:50.162" v="904" actId="20577"/>
          <ac:spMkLst>
            <pc:docMk/>
            <pc:sldMk cId="4180799600" sldId="300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19:06.688" v="1689" actId="20577"/>
        <pc:sldMkLst>
          <pc:docMk/>
          <pc:sldMk cId="298917606" sldId="301"/>
        </pc:sldMkLst>
        <pc:spChg chg="mod">
          <ac:chgData name="Chandramouli, Devaki (Nokia - US/Dallas)" userId="ebf2a9f8-651b-4485-926f-9d93c0eafbc5" providerId="ADAL" clId="{F5B69FA6-A9BD-4935-B819-65A4CE4A01CF}" dt="2020-02-02T17:19:06.688" v="1689" actId="20577"/>
          <ac:spMkLst>
            <pc:docMk/>
            <pc:sldMk cId="298917606" sldId="301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42:22.467" v="932" actId="20577"/>
          <ac:spMkLst>
            <pc:docMk/>
            <pc:sldMk cId="298917606" sldId="301"/>
            <ac:spMk id="4" creationId="{BDC7D266-0891-4430-9759-534065AEEEF3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19:01.349" v="1687"/>
        <pc:sldMkLst>
          <pc:docMk/>
          <pc:sldMk cId="1124374886" sldId="302"/>
        </pc:sldMkLst>
        <pc:spChg chg="mod">
          <ac:chgData name="Chandramouli, Devaki (Nokia - US/Dallas)" userId="ebf2a9f8-651b-4485-926f-9d93c0eafbc5" providerId="ADAL" clId="{F5B69FA6-A9BD-4935-B819-65A4CE4A01CF}" dt="2020-02-02T17:19:01.349" v="1687"/>
          <ac:spMkLst>
            <pc:docMk/>
            <pc:sldMk cId="1124374886" sldId="302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42:52.187" v="998" actId="20577"/>
          <ac:spMkLst>
            <pc:docMk/>
            <pc:sldMk cId="1124374886" sldId="302"/>
            <ac:spMk id="4" creationId="{BDC7D266-0891-4430-9759-534065AEEEF3}"/>
          </ac:spMkLst>
        </pc:spChg>
      </pc:sldChg>
      <pc:sldChg chg="addSp modSp add">
        <pc:chgData name="Chandramouli, Devaki (Nokia - US/Dallas)" userId="ebf2a9f8-651b-4485-926f-9d93c0eafbc5" providerId="ADAL" clId="{F5B69FA6-A9BD-4935-B819-65A4CE4A01CF}" dt="2020-02-02T17:23:58" v="1847"/>
        <pc:sldMkLst>
          <pc:docMk/>
          <pc:sldMk cId="20773976" sldId="303"/>
        </pc:sldMkLst>
        <pc:spChg chg="mod">
          <ac:chgData name="Chandramouli, Devaki (Nokia - US/Dallas)" userId="ebf2a9f8-651b-4485-926f-9d93c0eafbc5" providerId="ADAL" clId="{F5B69FA6-A9BD-4935-B819-65A4CE4A01CF}" dt="2020-02-02T17:20:32.162" v="1710"/>
          <ac:spMkLst>
            <pc:docMk/>
            <pc:sldMk cId="20773976" sldId="303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43:30.262" v="1006" actId="6549"/>
          <ac:spMkLst>
            <pc:docMk/>
            <pc:sldMk cId="20773976" sldId="303"/>
            <ac:spMk id="4" creationId="{BDC7D266-0891-4430-9759-534065AEEEF3}"/>
          </ac:spMkLst>
        </pc:spChg>
        <pc:spChg chg="add">
          <ac:chgData name="Chandramouli, Devaki (Nokia - US/Dallas)" userId="ebf2a9f8-651b-4485-926f-9d93c0eafbc5" providerId="ADAL" clId="{F5B69FA6-A9BD-4935-B819-65A4CE4A01CF}" dt="2020-02-02T17:23:58" v="1847"/>
          <ac:spMkLst>
            <pc:docMk/>
            <pc:sldMk cId="20773976" sldId="303"/>
            <ac:spMk id="6" creationId="{F7543A68-335D-4FC9-B317-A6A10473795D}"/>
          </ac:spMkLst>
        </pc:spChg>
      </pc:sldChg>
      <pc:sldChg chg="modSp add">
        <pc:chgData name="Chandramouli, Devaki (Nokia - US/Dallas)" userId="ebf2a9f8-651b-4485-926f-9d93c0eafbc5" providerId="ADAL" clId="{F5B69FA6-A9BD-4935-B819-65A4CE4A01CF}" dt="2020-02-02T17:21:32.261" v="1713"/>
        <pc:sldMkLst>
          <pc:docMk/>
          <pc:sldMk cId="62257519" sldId="304"/>
        </pc:sldMkLst>
        <pc:spChg chg="mod">
          <ac:chgData name="Chandramouli, Devaki (Nokia - US/Dallas)" userId="ebf2a9f8-651b-4485-926f-9d93c0eafbc5" providerId="ADAL" clId="{F5B69FA6-A9BD-4935-B819-65A4CE4A01CF}" dt="2020-02-02T17:21:32.261" v="1713"/>
          <ac:spMkLst>
            <pc:docMk/>
            <pc:sldMk cId="62257519" sldId="304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43:43.060" v="1019" actId="20577"/>
          <ac:spMkLst>
            <pc:docMk/>
            <pc:sldMk cId="62257519" sldId="304"/>
            <ac:spMk id="4" creationId="{BDC7D266-0891-4430-9759-534065AEEEF3}"/>
          </ac:spMkLst>
        </pc:spChg>
      </pc:sldChg>
      <pc:sldChg chg="addSp modSp add">
        <pc:chgData name="Chandramouli, Devaki (Nokia - US/Dallas)" userId="ebf2a9f8-651b-4485-926f-9d93c0eafbc5" providerId="ADAL" clId="{F5B69FA6-A9BD-4935-B819-65A4CE4A01CF}" dt="2020-02-02T17:23:46.829" v="1846" actId="14100"/>
        <pc:sldMkLst>
          <pc:docMk/>
          <pc:sldMk cId="3180151841" sldId="305"/>
        </pc:sldMkLst>
        <pc:spChg chg="mod">
          <ac:chgData name="Chandramouli, Devaki (Nokia - US/Dallas)" userId="ebf2a9f8-651b-4485-926f-9d93c0eafbc5" providerId="ADAL" clId="{F5B69FA6-A9BD-4935-B819-65A4CE4A01CF}" dt="2020-02-02T17:20:44.893" v="1712"/>
          <ac:spMkLst>
            <pc:docMk/>
            <pc:sldMk cId="3180151841" sldId="305"/>
            <ac:spMk id="3" creationId="{5B84A4F0-57DA-4FC9-AEAC-815E3FF90221}"/>
          </ac:spMkLst>
        </pc:spChg>
        <pc:spChg chg="mod">
          <ac:chgData name="Chandramouli, Devaki (Nokia - US/Dallas)" userId="ebf2a9f8-651b-4485-926f-9d93c0eafbc5" providerId="ADAL" clId="{F5B69FA6-A9BD-4935-B819-65A4CE4A01CF}" dt="2020-02-02T16:44:39.779" v="1063" actId="20577"/>
          <ac:spMkLst>
            <pc:docMk/>
            <pc:sldMk cId="3180151841" sldId="305"/>
            <ac:spMk id="4" creationId="{BDC7D266-0891-4430-9759-534065AEEEF3}"/>
          </ac:spMkLst>
        </pc:spChg>
        <pc:spChg chg="add mod">
          <ac:chgData name="Chandramouli, Devaki (Nokia - US/Dallas)" userId="ebf2a9f8-651b-4485-926f-9d93c0eafbc5" providerId="ADAL" clId="{F5B69FA6-A9BD-4935-B819-65A4CE4A01CF}" dt="2020-02-02T17:23:46.829" v="1846" actId="14100"/>
          <ac:spMkLst>
            <pc:docMk/>
            <pc:sldMk cId="3180151841" sldId="305"/>
            <ac:spMk id="6" creationId="{F71B4886-4CD0-46C6-8DEC-AF78DA82B1C8}"/>
          </ac:spMkLst>
        </pc:spChg>
      </pc:sldChg>
    </pc:docChg>
  </pc:docChgLst>
  <pc:docChgLst>
    <pc:chgData name="Simon Cai (NSB)" userId="S::simon.cai@nokia-sbell.com::37152ebf-cb41-4a71-820f-4428dc623117" providerId="AD" clId="Web-{77C3A699-6EF3-D74B-AB2F-065A486B3405}"/>
    <pc:docChg chg="delSld">
      <pc:chgData name="Simon Cai (NSB)" userId="S::simon.cai@nokia-sbell.com::37152ebf-cb41-4a71-820f-4428dc623117" providerId="AD" clId="Web-{77C3A699-6EF3-D74B-AB2F-065A486B3405}" dt="2022-12-05T12:36:03.346" v="0"/>
      <pc:docMkLst>
        <pc:docMk/>
      </pc:docMkLst>
      <pc:sldChg chg="del">
        <pc:chgData name="Simon Cai (NSB)" userId="S::simon.cai@nokia-sbell.com::37152ebf-cb41-4a71-820f-4428dc623117" providerId="AD" clId="Web-{77C3A699-6EF3-D74B-AB2F-065A486B3405}" dt="2022-12-05T12:36:03.346" v="0"/>
        <pc:sldMkLst>
          <pc:docMk/>
          <pc:sldMk cId="3299742882" sldId="2146846873"/>
        </pc:sldMkLst>
      </pc:sldChg>
    </pc:docChg>
  </pc:docChgLst>
  <pc:docChgLst>
    <pc:chgData name="Laurent Thiebaut (Nokia)" userId="5a0f83ef-4330-4e17-8828-eca8fc03b257" providerId="ADAL" clId="{5310EB25-F9B9-4A97-A366-9C3AA60D0180}"/>
    <pc:docChg chg="undo custSel addSld delSld modSld sldOrd">
      <pc:chgData name="Laurent Thiebaut (Nokia)" userId="5a0f83ef-4330-4e17-8828-eca8fc03b257" providerId="ADAL" clId="{5310EB25-F9B9-4A97-A366-9C3AA60D0180}" dt="2023-03-06T13:18:26.900" v="1156" actId="207"/>
      <pc:docMkLst>
        <pc:docMk/>
      </pc:docMkLst>
      <pc:sldChg chg="modSp mod">
        <pc:chgData name="Laurent Thiebaut (Nokia)" userId="5a0f83ef-4330-4e17-8828-eca8fc03b257" providerId="ADAL" clId="{5310EB25-F9B9-4A97-A366-9C3AA60D0180}" dt="2023-03-06T12:42:37.137" v="598" actId="20577"/>
        <pc:sldMkLst>
          <pc:docMk/>
          <pc:sldMk cId="2165169509" sldId="258"/>
        </pc:sldMkLst>
        <pc:spChg chg="mod">
          <ac:chgData name="Laurent Thiebaut (Nokia)" userId="5a0f83ef-4330-4e17-8828-eca8fc03b257" providerId="ADAL" clId="{5310EB25-F9B9-4A97-A366-9C3AA60D0180}" dt="2023-03-06T12:42:37.137" v="598" actId="20577"/>
          <ac:spMkLst>
            <pc:docMk/>
            <pc:sldMk cId="2165169509" sldId="258"/>
            <ac:spMk id="3" creationId="{A4E748F3-52F3-4227-86AD-9C50826A6263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23:51.690" v="400" actId="20577"/>
        <pc:sldMkLst>
          <pc:docMk/>
          <pc:sldMk cId="408490920" sldId="319"/>
        </pc:sldMkLst>
        <pc:spChg chg="mod">
          <ac:chgData name="Laurent Thiebaut (Nokia)" userId="5a0f83ef-4330-4e17-8828-eca8fc03b257" providerId="ADAL" clId="{5310EB25-F9B9-4A97-A366-9C3AA60D0180}" dt="2023-03-06T12:23:51.690" v="400" actId="20577"/>
          <ac:spMkLst>
            <pc:docMk/>
            <pc:sldMk cId="408490920" sldId="319"/>
            <ac:spMk id="4" creationId="{B91515A7-343D-47E8-82B8-D58ED83CD3B1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20:48.245" v="390" actId="1076"/>
        <pc:sldMkLst>
          <pc:docMk/>
          <pc:sldMk cId="2709855308" sldId="2134805464"/>
        </pc:sldMkLst>
        <pc:spChg chg="mod">
          <ac:chgData name="Laurent Thiebaut (Nokia)" userId="5a0f83ef-4330-4e17-8828-eca8fc03b257" providerId="ADAL" clId="{5310EB25-F9B9-4A97-A366-9C3AA60D0180}" dt="2023-03-06T12:20:41.963" v="389" actId="2711"/>
          <ac:spMkLst>
            <pc:docMk/>
            <pc:sldMk cId="2709855308" sldId="2134805464"/>
            <ac:spMk id="6" creationId="{2E20DBE3-132B-4E49-9B12-D7A9DE1B1D38}"/>
          </ac:spMkLst>
        </pc:spChg>
        <pc:graphicFrameChg chg="mod">
          <ac:chgData name="Laurent Thiebaut (Nokia)" userId="5a0f83ef-4330-4e17-8828-eca8fc03b257" providerId="ADAL" clId="{5310EB25-F9B9-4A97-A366-9C3AA60D0180}" dt="2023-03-06T12:20:48.245" v="390" actId="1076"/>
          <ac:graphicFrameMkLst>
            <pc:docMk/>
            <pc:sldMk cId="2709855308" sldId="2134805464"/>
            <ac:graphicFrameMk id="3" creationId="{466C96AA-5025-4989-9FE5-9D577F397561}"/>
          </ac:graphicFrameMkLst>
        </pc:graphicFrameChg>
      </pc:sldChg>
      <pc:sldChg chg="modSp add mod">
        <pc:chgData name="Laurent Thiebaut (Nokia)" userId="5a0f83ef-4330-4e17-8828-eca8fc03b257" providerId="ADAL" clId="{5310EB25-F9B9-4A97-A366-9C3AA60D0180}" dt="2023-03-06T12:34:57.116" v="522"/>
        <pc:sldMkLst>
          <pc:docMk/>
          <pc:sldMk cId="3042320317" sldId="2134805527"/>
        </pc:sldMkLst>
        <pc:spChg chg="mod">
          <ac:chgData name="Laurent Thiebaut (Nokia)" userId="5a0f83ef-4330-4e17-8828-eca8fc03b257" providerId="ADAL" clId="{5310EB25-F9B9-4A97-A366-9C3AA60D0180}" dt="2023-03-06T12:34:57.116" v="522"/>
          <ac:spMkLst>
            <pc:docMk/>
            <pc:sldMk cId="3042320317" sldId="2134805527"/>
            <ac:spMk id="8" creationId="{44A67181-A5DE-470F-9222-10372EDD6A02}"/>
          </ac:spMkLst>
        </pc:spChg>
        <pc:spChg chg="mod">
          <ac:chgData name="Laurent Thiebaut (Nokia)" userId="5a0f83ef-4330-4e17-8828-eca8fc03b257" providerId="ADAL" clId="{5310EB25-F9B9-4A97-A366-9C3AA60D0180}" dt="2023-03-06T12:34:11.866" v="513" actId="20577"/>
          <ac:spMkLst>
            <pc:docMk/>
            <pc:sldMk cId="3042320317" sldId="2134805527"/>
            <ac:spMk id="13" creationId="{B841B6B7-A497-4999-B341-57FC66D724DC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3147246536" sldId="2134805527"/>
        </pc:sldMkLst>
      </pc:sldChg>
      <pc:sldChg chg="modSp add mod">
        <pc:chgData name="Laurent Thiebaut (Nokia)" userId="5a0f83ef-4330-4e17-8828-eca8fc03b257" providerId="ADAL" clId="{5310EB25-F9B9-4A97-A366-9C3AA60D0180}" dt="2023-03-06T12:36:32.707" v="558" actId="313"/>
        <pc:sldMkLst>
          <pc:docMk/>
          <pc:sldMk cId="2519507042" sldId="2134805539"/>
        </pc:sldMkLst>
        <pc:spChg chg="mod">
          <ac:chgData name="Laurent Thiebaut (Nokia)" userId="5a0f83ef-4330-4e17-8828-eca8fc03b257" providerId="ADAL" clId="{5310EB25-F9B9-4A97-A366-9C3AA60D0180}" dt="2023-03-06T12:35:52.360" v="537" actId="313"/>
          <ac:spMkLst>
            <pc:docMk/>
            <pc:sldMk cId="2519507042" sldId="2134805539"/>
            <ac:spMk id="10" creationId="{FB17815A-60B6-42D8-9720-6AE98A1B851D}"/>
          </ac:spMkLst>
        </pc:spChg>
        <pc:spChg chg="mod">
          <ac:chgData name="Laurent Thiebaut (Nokia)" userId="5a0f83ef-4330-4e17-8828-eca8fc03b257" providerId="ADAL" clId="{5310EB25-F9B9-4A97-A366-9C3AA60D0180}" dt="2023-03-06T12:36:32.707" v="558" actId="313"/>
          <ac:spMkLst>
            <pc:docMk/>
            <pc:sldMk cId="2519507042" sldId="2134805539"/>
            <ac:spMk id="11" creationId="{4530E830-5FE1-4CA0-8A0E-B78352611AD4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3601372499" sldId="2134805539"/>
        </pc:sldMkLst>
      </pc:sldChg>
      <pc:sldChg chg="modSp add mod">
        <pc:chgData name="Laurent Thiebaut (Nokia)" userId="5a0f83ef-4330-4e17-8828-eca8fc03b257" providerId="ADAL" clId="{5310EB25-F9B9-4A97-A366-9C3AA60D0180}" dt="2023-03-06T12:36:34.672" v="561" actId="313"/>
        <pc:sldMkLst>
          <pc:docMk/>
          <pc:sldMk cId="1579624576" sldId="2134805540"/>
        </pc:sldMkLst>
        <pc:spChg chg="mod">
          <ac:chgData name="Laurent Thiebaut (Nokia)" userId="5a0f83ef-4330-4e17-8828-eca8fc03b257" providerId="ADAL" clId="{5310EB25-F9B9-4A97-A366-9C3AA60D0180}" dt="2023-03-06T12:35:53.866" v="540" actId="313"/>
          <ac:spMkLst>
            <pc:docMk/>
            <pc:sldMk cId="1579624576" sldId="2134805540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34.672" v="561" actId="313"/>
          <ac:spMkLst>
            <pc:docMk/>
            <pc:sldMk cId="1579624576" sldId="2134805540"/>
            <ac:spMk id="13" creationId="{B841B6B7-A497-4999-B341-57FC66D724DC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2965957211" sldId="2134805540"/>
        </pc:sldMkLst>
      </pc:sldChg>
      <pc:sldChg chg="modSp add mod">
        <pc:chgData name="Laurent Thiebaut (Nokia)" userId="5a0f83ef-4330-4e17-8828-eca8fc03b257" providerId="ADAL" clId="{5310EB25-F9B9-4A97-A366-9C3AA60D0180}" dt="2023-03-06T12:36:35.266" v="562" actId="313"/>
        <pc:sldMkLst>
          <pc:docMk/>
          <pc:sldMk cId="1551575579" sldId="2134805541"/>
        </pc:sldMkLst>
        <pc:spChg chg="mod">
          <ac:chgData name="Laurent Thiebaut (Nokia)" userId="5a0f83ef-4330-4e17-8828-eca8fc03b257" providerId="ADAL" clId="{5310EB25-F9B9-4A97-A366-9C3AA60D0180}" dt="2023-03-06T12:35:54.392" v="541" actId="313"/>
          <ac:spMkLst>
            <pc:docMk/>
            <pc:sldMk cId="1551575579" sldId="2134805541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35.266" v="562" actId="313"/>
          <ac:spMkLst>
            <pc:docMk/>
            <pc:sldMk cId="1551575579" sldId="2134805541"/>
            <ac:spMk id="13" creationId="{B841B6B7-A497-4999-B341-57FC66D724DC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4016153925" sldId="2134805541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2632831134" sldId="2134805542"/>
        </pc:sldMkLst>
      </pc:sldChg>
      <pc:sldChg chg="modSp add mod">
        <pc:chgData name="Laurent Thiebaut (Nokia)" userId="5a0f83ef-4330-4e17-8828-eca8fc03b257" providerId="ADAL" clId="{5310EB25-F9B9-4A97-A366-9C3AA60D0180}" dt="2023-03-06T12:36:35.866" v="563" actId="313"/>
        <pc:sldMkLst>
          <pc:docMk/>
          <pc:sldMk cId="2784288278" sldId="2134805542"/>
        </pc:sldMkLst>
        <pc:spChg chg="mod">
          <ac:chgData name="Laurent Thiebaut (Nokia)" userId="5a0f83ef-4330-4e17-8828-eca8fc03b257" providerId="ADAL" clId="{5310EB25-F9B9-4A97-A366-9C3AA60D0180}" dt="2023-03-06T12:35:54.733" v="542" actId="313"/>
          <ac:spMkLst>
            <pc:docMk/>
            <pc:sldMk cId="2784288278" sldId="2134805542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35.866" v="563" actId="313"/>
          <ac:spMkLst>
            <pc:docMk/>
            <pc:sldMk cId="2784288278" sldId="2134805542"/>
            <ac:spMk id="13" creationId="{B841B6B7-A497-4999-B341-57FC66D724DC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1666261071" sldId="2134805543"/>
        </pc:sldMkLst>
      </pc:sldChg>
      <pc:sldChg chg="modSp add mod">
        <pc:chgData name="Laurent Thiebaut (Nokia)" userId="5a0f83ef-4330-4e17-8828-eca8fc03b257" providerId="ADAL" clId="{5310EB25-F9B9-4A97-A366-9C3AA60D0180}" dt="2023-03-06T12:36:34.071" v="560" actId="313"/>
        <pc:sldMkLst>
          <pc:docMk/>
          <pc:sldMk cId="2242656389" sldId="2134805543"/>
        </pc:sldMkLst>
        <pc:spChg chg="mod">
          <ac:chgData name="Laurent Thiebaut (Nokia)" userId="5a0f83ef-4330-4e17-8828-eca8fc03b257" providerId="ADAL" clId="{5310EB25-F9B9-4A97-A366-9C3AA60D0180}" dt="2023-03-06T12:35:53.413" v="539" actId="313"/>
          <ac:spMkLst>
            <pc:docMk/>
            <pc:sldMk cId="2242656389" sldId="2134805543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34.071" v="560" actId="313"/>
          <ac:spMkLst>
            <pc:docMk/>
            <pc:sldMk cId="2242656389" sldId="2134805543"/>
            <ac:spMk id="13" creationId="{B841B6B7-A497-4999-B341-57FC66D724DC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19:48.669" v="384" actId="20577"/>
        <pc:sldMkLst>
          <pc:docMk/>
          <pc:sldMk cId="2556045850" sldId="2134805565"/>
        </pc:sldMkLst>
        <pc:spChg chg="mod">
          <ac:chgData name="Laurent Thiebaut (Nokia)" userId="5a0f83ef-4330-4e17-8828-eca8fc03b257" providerId="ADAL" clId="{5310EB25-F9B9-4A97-A366-9C3AA60D0180}" dt="2023-03-06T12:19:31.698" v="377" actId="1076"/>
          <ac:spMkLst>
            <pc:docMk/>
            <pc:sldMk cId="2556045850" sldId="2134805565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2:19:48.669" v="384" actId="20577"/>
          <ac:spMkLst>
            <pc:docMk/>
            <pc:sldMk cId="2556045850" sldId="2134805565"/>
            <ac:spMk id="4" creationId="{CD72C33D-DF40-4601-AF02-8DFD5A6EA958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1837257800" sldId="2134805566"/>
        </pc:sldMkLst>
      </pc:sldChg>
      <pc:sldChg chg="modSp add mod">
        <pc:chgData name="Laurent Thiebaut (Nokia)" userId="5a0f83ef-4330-4e17-8828-eca8fc03b257" providerId="ADAL" clId="{5310EB25-F9B9-4A97-A366-9C3AA60D0180}" dt="2023-03-06T12:34:46.262" v="517"/>
        <pc:sldMkLst>
          <pc:docMk/>
          <pc:sldMk cId="3431781248" sldId="2134805566"/>
        </pc:sldMkLst>
        <pc:spChg chg="mod">
          <ac:chgData name="Laurent Thiebaut (Nokia)" userId="5a0f83ef-4330-4e17-8828-eca8fc03b257" providerId="ADAL" clId="{5310EB25-F9B9-4A97-A366-9C3AA60D0180}" dt="2023-03-06T12:34:46.262" v="517"/>
          <ac:spMkLst>
            <pc:docMk/>
            <pc:sldMk cId="3431781248" sldId="2134805566"/>
            <ac:spMk id="10" creationId="{FB17815A-60B6-42D8-9720-6AE98A1B851D}"/>
          </ac:spMkLst>
        </pc:spChg>
        <pc:spChg chg="mod">
          <ac:chgData name="Laurent Thiebaut (Nokia)" userId="5a0f83ef-4330-4e17-8828-eca8fc03b257" providerId="ADAL" clId="{5310EB25-F9B9-4A97-A366-9C3AA60D0180}" dt="2023-03-06T12:34:07.025" v="512" actId="20577"/>
          <ac:spMkLst>
            <pc:docMk/>
            <pc:sldMk cId="3431781248" sldId="2134805566"/>
            <ac:spMk id="11" creationId="{4530E830-5FE1-4CA0-8A0E-B78352611AD4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35:10.937" v="524"/>
        <pc:sldMkLst>
          <pc:docMk/>
          <pc:sldMk cId="2682711639" sldId="2134805567"/>
        </pc:sldMkLst>
        <pc:spChg chg="mod">
          <ac:chgData name="Laurent Thiebaut (Nokia)" userId="5a0f83ef-4330-4e17-8828-eca8fc03b257" providerId="ADAL" clId="{5310EB25-F9B9-4A97-A366-9C3AA60D0180}" dt="2023-03-06T12:35:10.937" v="524"/>
          <ac:spMkLst>
            <pc:docMk/>
            <pc:sldMk cId="2682711639" sldId="2134805567"/>
            <ac:spMk id="8" creationId="{D96F8373-3619-46F0-A35D-7DD387415B80}"/>
          </ac:spMkLst>
        </pc:spChg>
        <pc:spChg chg="mod">
          <ac:chgData name="Laurent Thiebaut (Nokia)" userId="5a0f83ef-4330-4e17-8828-eca8fc03b257" providerId="ADAL" clId="{5310EB25-F9B9-4A97-A366-9C3AA60D0180}" dt="2023-03-06T12:34:23.403" v="515" actId="6549"/>
          <ac:spMkLst>
            <pc:docMk/>
            <pc:sldMk cId="2682711639" sldId="2134805567"/>
            <ac:spMk id="13" creationId="{FC1993F7-24C6-4BBC-AF3D-0789CEBDF50F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3755841832" sldId="2134805567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873214331" sldId="2134805568"/>
        </pc:sldMkLst>
      </pc:sldChg>
      <pc:sldChg chg="modSp add mod">
        <pc:chgData name="Laurent Thiebaut (Nokia)" userId="5a0f83ef-4330-4e17-8828-eca8fc03b257" providerId="ADAL" clId="{5310EB25-F9B9-4A97-A366-9C3AA60D0180}" dt="2023-03-06T12:32:50.826" v="506" actId="20577"/>
        <pc:sldMkLst>
          <pc:docMk/>
          <pc:sldMk cId="2899379030" sldId="2134805568"/>
        </pc:sldMkLst>
        <pc:spChg chg="mod">
          <ac:chgData name="Laurent Thiebaut (Nokia)" userId="5a0f83ef-4330-4e17-8828-eca8fc03b257" providerId="ADAL" clId="{5310EB25-F9B9-4A97-A366-9C3AA60D0180}" dt="2023-03-06T12:32:46.721" v="505"/>
          <ac:spMkLst>
            <pc:docMk/>
            <pc:sldMk cId="2899379030" sldId="2134805568"/>
            <ac:spMk id="10" creationId="{FB17815A-60B6-42D8-9720-6AE98A1B851D}"/>
          </ac:spMkLst>
        </pc:spChg>
        <pc:spChg chg="mod">
          <ac:chgData name="Laurent Thiebaut (Nokia)" userId="5a0f83ef-4330-4e17-8828-eca8fc03b257" providerId="ADAL" clId="{5310EB25-F9B9-4A97-A366-9C3AA60D0180}" dt="2023-03-06T12:32:50.826" v="506" actId="20577"/>
          <ac:spMkLst>
            <pc:docMk/>
            <pc:sldMk cId="2899379030" sldId="2134805568"/>
            <ac:spMk id="11" creationId="{4530E830-5FE1-4CA0-8A0E-B78352611AD4}"/>
          </ac:spMkLst>
        </pc:spChg>
      </pc:sldChg>
      <pc:sldChg chg="addSp modSp mod">
        <pc:chgData name="Laurent Thiebaut (Nokia)" userId="5a0f83ef-4330-4e17-8828-eca8fc03b257" providerId="ADAL" clId="{5310EB25-F9B9-4A97-A366-9C3AA60D0180}" dt="2023-03-06T12:03:19.695" v="245" actId="20577"/>
        <pc:sldMkLst>
          <pc:docMk/>
          <pc:sldMk cId="374592939" sldId="2134805583"/>
        </pc:sldMkLst>
        <pc:spChg chg="mod">
          <ac:chgData name="Laurent Thiebaut (Nokia)" userId="5a0f83ef-4330-4e17-8828-eca8fc03b257" providerId="ADAL" clId="{5310EB25-F9B9-4A97-A366-9C3AA60D0180}" dt="2023-03-06T12:03:19.695" v="245" actId="20577"/>
          <ac:spMkLst>
            <pc:docMk/>
            <pc:sldMk cId="374592939" sldId="2134805583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1:01:59.021" v="169" actId="108"/>
          <ac:spMkLst>
            <pc:docMk/>
            <pc:sldMk cId="374592939" sldId="2134805583"/>
            <ac:spMk id="4" creationId="{CD72C33D-DF40-4601-AF02-8DFD5A6EA958}"/>
          </ac:spMkLst>
        </pc:spChg>
        <pc:spChg chg="add mod">
          <ac:chgData name="Laurent Thiebaut (Nokia)" userId="5a0f83ef-4330-4e17-8828-eca8fc03b257" providerId="ADAL" clId="{5310EB25-F9B9-4A97-A366-9C3AA60D0180}" dt="2023-03-06T11:00:23.428" v="161" actId="1076"/>
          <ac:spMkLst>
            <pc:docMk/>
            <pc:sldMk cId="374592939" sldId="2134805583"/>
            <ac:spMk id="6" creationId="{FA790EFA-001D-4192-B097-A6C33D14E7A9}"/>
          </ac:spMkLst>
        </pc:spChg>
        <pc:graphicFrameChg chg="mod">
          <ac:chgData name="Laurent Thiebaut (Nokia)" userId="5a0f83ef-4330-4e17-8828-eca8fc03b257" providerId="ADAL" clId="{5310EB25-F9B9-4A97-A366-9C3AA60D0180}" dt="2023-03-06T11:02:14.152" v="171" actId="1076"/>
          <ac:graphicFrameMkLst>
            <pc:docMk/>
            <pc:sldMk cId="374592939" sldId="2134805583"/>
            <ac:graphicFrameMk id="5" creationId="{C8BBFCFC-A916-4DFF-91B3-3D3FB6D6A8D0}"/>
          </ac:graphicFrameMkLst>
        </pc:graphicFrameChg>
        <pc:graphicFrameChg chg="add mod">
          <ac:chgData name="Laurent Thiebaut (Nokia)" userId="5a0f83ef-4330-4e17-8828-eca8fc03b257" providerId="ADAL" clId="{5310EB25-F9B9-4A97-A366-9C3AA60D0180}" dt="2023-03-06T11:02:18.360" v="172" actId="1076"/>
          <ac:graphicFrameMkLst>
            <pc:docMk/>
            <pc:sldMk cId="374592939" sldId="2134805583"/>
            <ac:graphicFrameMk id="7" creationId="{6CD6E970-F255-4F4D-AACF-C889B5EBBA7D}"/>
          </ac:graphicFrameMkLst>
        </pc:graphicFrameChg>
      </pc:sldChg>
      <pc:sldChg chg="delSp modSp mod">
        <pc:chgData name="Laurent Thiebaut (Nokia)" userId="5a0f83ef-4330-4e17-8828-eca8fc03b257" providerId="ADAL" clId="{5310EB25-F9B9-4A97-A366-9C3AA60D0180}" dt="2023-03-06T12:04:29.466" v="253" actId="27636"/>
        <pc:sldMkLst>
          <pc:docMk/>
          <pc:sldMk cId="681358297" sldId="2134805587"/>
        </pc:sldMkLst>
        <pc:spChg chg="mod">
          <ac:chgData name="Laurent Thiebaut (Nokia)" userId="5a0f83ef-4330-4e17-8828-eca8fc03b257" providerId="ADAL" clId="{5310EB25-F9B9-4A97-A366-9C3AA60D0180}" dt="2023-03-06T12:03:51.076" v="248"/>
          <ac:spMkLst>
            <pc:docMk/>
            <pc:sldMk cId="681358297" sldId="2134805587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2:02:21.307" v="217" actId="20577"/>
          <ac:spMkLst>
            <pc:docMk/>
            <pc:sldMk cId="681358297" sldId="2134805587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2:04:29.466" v="253" actId="27636"/>
          <ac:spMkLst>
            <pc:docMk/>
            <pc:sldMk cId="681358297" sldId="2134805587"/>
            <ac:spMk id="4" creationId="{CD72C33D-DF40-4601-AF02-8DFD5A6EA958}"/>
          </ac:spMkLst>
        </pc:spChg>
        <pc:graphicFrameChg chg="del modGraphic">
          <ac:chgData name="Laurent Thiebaut (Nokia)" userId="5a0f83ef-4330-4e17-8828-eca8fc03b257" providerId="ADAL" clId="{5310EB25-F9B9-4A97-A366-9C3AA60D0180}" dt="2023-03-06T11:03:44.487" v="179" actId="478"/>
          <ac:graphicFrameMkLst>
            <pc:docMk/>
            <pc:sldMk cId="681358297" sldId="2134805587"/>
            <ac:graphicFrameMk id="5" creationId="{C8BBFCFC-A916-4DFF-91B3-3D3FB6D6A8D0}"/>
          </ac:graphicFrameMkLst>
        </pc:graphicFrameChg>
      </pc:sldChg>
      <pc:sldChg chg="add">
        <pc:chgData name="Laurent Thiebaut (Nokia)" userId="5a0f83ef-4330-4e17-8828-eca8fc03b257" providerId="ADAL" clId="{5310EB25-F9B9-4A97-A366-9C3AA60D0180}" dt="2023-03-05T19:55:27.339" v="1"/>
        <pc:sldMkLst>
          <pc:docMk/>
          <pc:sldMk cId="1971997141" sldId="2134805602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2563611883" sldId="2134805602"/>
        </pc:sldMkLst>
      </pc:sldChg>
      <pc:sldChg chg="del">
        <pc:chgData name="Laurent Thiebaut (Nokia)" userId="5a0f83ef-4330-4e17-8828-eca8fc03b257" providerId="ADAL" clId="{5310EB25-F9B9-4A97-A366-9C3AA60D0180}" dt="2023-03-06T12:24:10.471" v="404" actId="2696"/>
        <pc:sldMkLst>
          <pc:docMk/>
          <pc:sldMk cId="2649463080" sldId="2134805617"/>
        </pc:sldMkLst>
      </pc:sldChg>
      <pc:sldChg chg="modSp add mod">
        <pc:chgData name="Laurent Thiebaut (Nokia)" userId="5a0f83ef-4330-4e17-8828-eca8fc03b257" providerId="ADAL" clId="{5310EB25-F9B9-4A97-A366-9C3AA60D0180}" dt="2023-03-06T12:28:39.309" v="442" actId="115"/>
        <pc:sldMkLst>
          <pc:docMk/>
          <pc:sldMk cId="4063042362" sldId="2134805617"/>
        </pc:sldMkLst>
        <pc:spChg chg="mod">
          <ac:chgData name="Laurent Thiebaut (Nokia)" userId="5a0f83ef-4330-4e17-8828-eca8fc03b257" providerId="ADAL" clId="{5310EB25-F9B9-4A97-A366-9C3AA60D0180}" dt="2023-03-06T12:26:33.480" v="420" actId="2711"/>
          <ac:spMkLst>
            <pc:docMk/>
            <pc:sldMk cId="4063042362" sldId="2134805617"/>
            <ac:spMk id="2" creationId="{F70F07A9-7566-47FB-960B-B0CAB30102A8}"/>
          </ac:spMkLst>
        </pc:spChg>
        <pc:spChg chg="mod">
          <ac:chgData name="Laurent Thiebaut (Nokia)" userId="5a0f83ef-4330-4e17-8828-eca8fc03b257" providerId="ADAL" clId="{5310EB25-F9B9-4A97-A366-9C3AA60D0180}" dt="2023-03-06T12:26:43.973" v="422" actId="1076"/>
          <ac:spMkLst>
            <pc:docMk/>
            <pc:sldMk cId="4063042362" sldId="2134805617"/>
            <ac:spMk id="3" creationId="{01DA5E5C-E00E-43FE-95B5-C7F208BADC76}"/>
          </ac:spMkLst>
        </pc:spChg>
        <pc:spChg chg="mod">
          <ac:chgData name="Laurent Thiebaut (Nokia)" userId="5a0f83ef-4330-4e17-8828-eca8fc03b257" providerId="ADAL" clId="{5310EB25-F9B9-4A97-A366-9C3AA60D0180}" dt="2023-03-06T12:28:39.309" v="442" actId="115"/>
          <ac:spMkLst>
            <pc:docMk/>
            <pc:sldMk cId="4063042362" sldId="2134805617"/>
            <ac:spMk id="4" creationId="{FD9B9349-5219-4A4E-8125-7E6F849D4C07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38:47.972" v="568" actId="20577"/>
        <pc:sldMkLst>
          <pc:docMk/>
          <pc:sldMk cId="3118348330" sldId="2146846802"/>
        </pc:sldMkLst>
        <pc:spChg chg="mod">
          <ac:chgData name="Laurent Thiebaut (Nokia)" userId="5a0f83ef-4330-4e17-8828-eca8fc03b257" providerId="ADAL" clId="{5310EB25-F9B9-4A97-A366-9C3AA60D0180}" dt="2023-03-06T12:35:50.559" v="535" actId="313"/>
          <ac:spMkLst>
            <pc:docMk/>
            <pc:sldMk cId="3118348330" sldId="2146846802"/>
            <ac:spMk id="2" creationId="{673AE4A4-F521-4B46-BB77-BDFFF6278B02}"/>
          </ac:spMkLst>
        </pc:spChg>
        <pc:spChg chg="mod">
          <ac:chgData name="Laurent Thiebaut (Nokia)" userId="5a0f83ef-4330-4e17-8828-eca8fc03b257" providerId="ADAL" clId="{5310EB25-F9B9-4A97-A366-9C3AA60D0180}" dt="2023-03-06T12:38:47.972" v="568" actId="20577"/>
          <ac:spMkLst>
            <pc:docMk/>
            <pc:sldMk cId="3118348330" sldId="2146846802"/>
            <ac:spMk id="3" creationId="{A4E748F3-52F3-4227-86AD-9C50826A6263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3593904960" sldId="2146846802"/>
        </pc:sldMkLst>
      </pc:sldChg>
      <pc:sldChg chg="modSp mod">
        <pc:chgData name="Laurent Thiebaut (Nokia)" userId="5a0f83ef-4330-4e17-8828-eca8fc03b257" providerId="ADAL" clId="{5310EB25-F9B9-4A97-A366-9C3AA60D0180}" dt="2023-03-06T12:07:31.619" v="304" actId="6549"/>
        <pc:sldMkLst>
          <pc:docMk/>
          <pc:sldMk cId="494238848" sldId="2146846814"/>
        </pc:sldMkLst>
        <pc:spChg chg="mod">
          <ac:chgData name="Laurent Thiebaut (Nokia)" userId="5a0f83ef-4330-4e17-8828-eca8fc03b257" providerId="ADAL" clId="{5310EB25-F9B9-4A97-A366-9C3AA60D0180}" dt="2023-03-06T12:07:31.619" v="304" actId="6549"/>
          <ac:spMkLst>
            <pc:docMk/>
            <pc:sldMk cId="494238848" sldId="2146846814"/>
            <ac:spMk id="2" creationId="{F55F6DD9-9F73-4475-B4C0-0BD35C69E49D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43:18.041" v="599" actId="113"/>
        <pc:sldMkLst>
          <pc:docMk/>
          <pc:sldMk cId="1762226801" sldId="2146846817"/>
        </pc:sldMkLst>
        <pc:spChg chg="mod">
          <ac:chgData name="Laurent Thiebaut (Nokia)" userId="5a0f83ef-4330-4e17-8828-eca8fc03b257" providerId="ADAL" clId="{5310EB25-F9B9-4A97-A366-9C3AA60D0180}" dt="2023-03-06T10:52:15.479" v="26" actId="108"/>
          <ac:spMkLst>
            <pc:docMk/>
            <pc:sldMk cId="1762226801" sldId="2146846817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0:51:08.800" v="17" actId="113"/>
          <ac:spMkLst>
            <pc:docMk/>
            <pc:sldMk cId="1762226801" sldId="2146846817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2:43:18.041" v="599" actId="113"/>
          <ac:spMkLst>
            <pc:docMk/>
            <pc:sldMk cId="1762226801" sldId="2146846817"/>
            <ac:spMk id="4" creationId="{CD72C33D-DF40-4601-AF02-8DFD5A6EA958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0:53:10.539" v="33" actId="404"/>
        <pc:sldMkLst>
          <pc:docMk/>
          <pc:sldMk cId="1638951385" sldId="2146846818"/>
        </pc:sldMkLst>
        <pc:spChg chg="mod">
          <ac:chgData name="Laurent Thiebaut (Nokia)" userId="5a0f83ef-4330-4e17-8828-eca8fc03b257" providerId="ADAL" clId="{5310EB25-F9B9-4A97-A366-9C3AA60D0180}" dt="2023-03-06T10:52:57.480" v="32" actId="20577"/>
          <ac:spMkLst>
            <pc:docMk/>
            <pc:sldMk cId="1638951385" sldId="2146846818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0:51:36.384" v="22" actId="313"/>
          <ac:spMkLst>
            <pc:docMk/>
            <pc:sldMk cId="1638951385" sldId="2146846818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0:53:10.539" v="33" actId="404"/>
          <ac:spMkLst>
            <pc:docMk/>
            <pc:sldMk cId="1638951385" sldId="2146846818"/>
            <ac:spMk id="4" creationId="{CD72C33D-DF40-4601-AF02-8DFD5A6EA958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1:58:34.159" v="186" actId="404"/>
        <pc:sldMkLst>
          <pc:docMk/>
          <pc:sldMk cId="31144451" sldId="2146846844"/>
        </pc:sldMkLst>
        <pc:spChg chg="mod">
          <ac:chgData name="Laurent Thiebaut (Nokia)" userId="5a0f83ef-4330-4e17-8828-eca8fc03b257" providerId="ADAL" clId="{5310EB25-F9B9-4A97-A366-9C3AA60D0180}" dt="2023-03-06T11:58:13.760" v="184" actId="6549"/>
          <ac:spMkLst>
            <pc:docMk/>
            <pc:sldMk cId="31144451" sldId="2146846844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0:53:25.272" v="36" actId="6549"/>
          <ac:spMkLst>
            <pc:docMk/>
            <pc:sldMk cId="31144451" sldId="2146846844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1:58:34.159" v="186" actId="404"/>
          <ac:spMkLst>
            <pc:docMk/>
            <pc:sldMk cId="31144451" sldId="2146846844"/>
            <ac:spMk id="5" creationId="{BCDEC535-7E3A-FE76-6A95-6077FF45D700}"/>
          </ac:spMkLst>
        </pc:spChg>
      </pc:sldChg>
      <pc:sldChg chg="add">
        <pc:chgData name="Laurent Thiebaut (Nokia)" userId="5a0f83ef-4330-4e17-8828-eca8fc03b257" providerId="ADAL" clId="{5310EB25-F9B9-4A97-A366-9C3AA60D0180}" dt="2023-03-05T19:55:27.339" v="1"/>
        <pc:sldMkLst>
          <pc:docMk/>
          <pc:sldMk cId="291268639" sldId="2146846857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2908247285" sldId="2146846857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918522189" sldId="2146846859"/>
        </pc:sldMkLst>
      </pc:sldChg>
      <pc:sldChg chg="modSp add mod">
        <pc:chgData name="Laurent Thiebaut (Nokia)" userId="5a0f83ef-4330-4e17-8828-eca8fc03b257" providerId="ADAL" clId="{5310EB25-F9B9-4A97-A366-9C3AA60D0180}" dt="2023-03-06T12:35:26.159" v="527" actId="20577"/>
        <pc:sldMkLst>
          <pc:docMk/>
          <pc:sldMk cId="1701483606" sldId="2146846859"/>
        </pc:sldMkLst>
        <pc:spChg chg="mod">
          <ac:chgData name="Laurent Thiebaut (Nokia)" userId="5a0f83ef-4330-4e17-8828-eca8fc03b257" providerId="ADAL" clId="{5310EB25-F9B9-4A97-A366-9C3AA60D0180}" dt="2023-03-06T12:35:22.054" v="526" actId="20577"/>
          <ac:spMkLst>
            <pc:docMk/>
            <pc:sldMk cId="1701483606" sldId="2146846859"/>
            <ac:spMk id="2" creationId="{673AE4A4-F521-4B46-BB77-BDFFF6278B02}"/>
          </ac:spMkLst>
        </pc:spChg>
        <pc:spChg chg="mod">
          <ac:chgData name="Laurent Thiebaut (Nokia)" userId="5a0f83ef-4330-4e17-8828-eca8fc03b257" providerId="ADAL" clId="{5310EB25-F9B9-4A97-A366-9C3AA60D0180}" dt="2023-03-06T12:35:26.159" v="527" actId="20577"/>
          <ac:spMkLst>
            <pc:docMk/>
            <pc:sldMk cId="1701483606" sldId="2146846859"/>
            <ac:spMk id="3" creationId="{A4E748F3-52F3-4227-86AD-9C50826A6263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31:33.665" v="497" actId="6549"/>
        <pc:sldMkLst>
          <pc:docMk/>
          <pc:sldMk cId="626517109" sldId="2146846861"/>
        </pc:sldMkLst>
        <pc:spChg chg="mod">
          <ac:chgData name="Laurent Thiebaut (Nokia)" userId="5a0f83ef-4330-4e17-8828-eca8fc03b257" providerId="ADAL" clId="{5310EB25-F9B9-4A97-A366-9C3AA60D0180}" dt="2023-03-06T12:31:19.681" v="495" actId="20577"/>
          <ac:spMkLst>
            <pc:docMk/>
            <pc:sldMk cId="626517109" sldId="2146846861"/>
            <ac:spMk id="2" creationId="{673AE4A4-F521-4B46-BB77-BDFFF6278B02}"/>
          </ac:spMkLst>
        </pc:spChg>
        <pc:spChg chg="mod">
          <ac:chgData name="Laurent Thiebaut (Nokia)" userId="5a0f83ef-4330-4e17-8828-eca8fc03b257" providerId="ADAL" clId="{5310EB25-F9B9-4A97-A366-9C3AA60D0180}" dt="2023-03-06T12:31:33.665" v="497" actId="6549"/>
          <ac:spMkLst>
            <pc:docMk/>
            <pc:sldMk cId="626517109" sldId="2146846861"/>
            <ac:spMk id="3" creationId="{A4E748F3-52F3-4227-86AD-9C50826A6263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1400646624" sldId="2146846861"/>
        </pc:sldMkLst>
      </pc:sldChg>
      <pc:sldChg chg="addSp delSp modSp mod">
        <pc:chgData name="Laurent Thiebaut (Nokia)" userId="5a0f83ef-4330-4e17-8828-eca8fc03b257" providerId="ADAL" clId="{5310EB25-F9B9-4A97-A366-9C3AA60D0180}" dt="2023-03-06T12:45:14.088" v="615" actId="5793"/>
        <pc:sldMkLst>
          <pc:docMk/>
          <pc:sldMk cId="2047454418" sldId="2146846898"/>
        </pc:sldMkLst>
        <pc:spChg chg="mod">
          <ac:chgData name="Laurent Thiebaut (Nokia)" userId="5a0f83ef-4330-4e17-8828-eca8fc03b257" providerId="ADAL" clId="{5310EB25-F9B9-4A97-A366-9C3AA60D0180}" dt="2023-03-06T10:52:31.960" v="29"/>
          <ac:spMkLst>
            <pc:docMk/>
            <pc:sldMk cId="2047454418" sldId="2146846898"/>
            <ac:spMk id="2" creationId="{F55F6DD9-9F73-4475-B4C0-0BD35C69E49D}"/>
          </ac:spMkLst>
        </pc:spChg>
        <pc:spChg chg="del mod">
          <ac:chgData name="Laurent Thiebaut (Nokia)" userId="5a0f83ef-4330-4e17-8828-eca8fc03b257" providerId="ADAL" clId="{5310EB25-F9B9-4A97-A366-9C3AA60D0180}" dt="2023-03-06T10:50:30.632" v="13" actId="478"/>
          <ac:spMkLst>
            <pc:docMk/>
            <pc:sldMk cId="2047454418" sldId="2146846898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2:45:14.088" v="615" actId="5793"/>
          <ac:spMkLst>
            <pc:docMk/>
            <pc:sldMk cId="2047454418" sldId="2146846898"/>
            <ac:spMk id="4" creationId="{CD72C33D-DF40-4601-AF02-8DFD5A6EA958}"/>
          </ac:spMkLst>
        </pc:spChg>
        <pc:spChg chg="add mod">
          <ac:chgData name="Laurent Thiebaut (Nokia)" userId="5a0f83ef-4330-4e17-8828-eca8fc03b257" providerId="ADAL" clId="{5310EB25-F9B9-4A97-A366-9C3AA60D0180}" dt="2023-03-06T10:52:27.714" v="28" actId="20577"/>
          <ac:spMkLst>
            <pc:docMk/>
            <pc:sldMk cId="2047454418" sldId="2146846898"/>
            <ac:spMk id="6" creationId="{F1788F71-DD72-45A2-A5FC-1528CDB8CF64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15:24.076" v="357" actId="2711"/>
        <pc:sldMkLst>
          <pc:docMk/>
          <pc:sldMk cId="2043978815" sldId="2146846908"/>
        </pc:sldMkLst>
        <pc:spChg chg="mod">
          <ac:chgData name="Laurent Thiebaut (Nokia)" userId="5a0f83ef-4330-4e17-8828-eca8fc03b257" providerId="ADAL" clId="{5310EB25-F9B9-4A97-A366-9C3AA60D0180}" dt="2023-03-06T12:15:24.076" v="357" actId="2711"/>
          <ac:spMkLst>
            <pc:docMk/>
            <pc:sldMk cId="2043978815" sldId="2146846908"/>
            <ac:spMk id="2" creationId="{828AE646-029C-43F1-BE54-1B04A2DEF02D}"/>
          </ac:spMkLst>
        </pc:spChg>
        <pc:spChg chg="mod">
          <ac:chgData name="Laurent Thiebaut (Nokia)" userId="5a0f83ef-4330-4e17-8828-eca8fc03b257" providerId="ADAL" clId="{5310EB25-F9B9-4A97-A366-9C3AA60D0180}" dt="2023-03-06T12:15:17.654" v="356" actId="1076"/>
          <ac:spMkLst>
            <pc:docMk/>
            <pc:sldMk cId="2043978815" sldId="2146846908"/>
            <ac:spMk id="3" creationId="{B048C618-39BC-4B3E-A0B8-FE581AEF965F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0:56:53.524" v="152" actId="6549"/>
        <pc:sldMkLst>
          <pc:docMk/>
          <pc:sldMk cId="4241780383" sldId="2146846932"/>
        </pc:sldMkLst>
        <pc:spChg chg="mod">
          <ac:chgData name="Laurent Thiebaut (Nokia)" userId="5a0f83ef-4330-4e17-8828-eca8fc03b257" providerId="ADAL" clId="{5310EB25-F9B9-4A97-A366-9C3AA60D0180}" dt="2023-03-06T10:56:42.293" v="147" actId="14100"/>
          <ac:spMkLst>
            <pc:docMk/>
            <pc:sldMk cId="4241780383" sldId="2146846932"/>
            <ac:spMk id="7" creationId="{831DF6A5-C4BD-4FE9-921B-93FBAC10094C}"/>
          </ac:spMkLst>
        </pc:spChg>
        <pc:spChg chg="mod">
          <ac:chgData name="Laurent Thiebaut (Nokia)" userId="5a0f83ef-4330-4e17-8828-eca8fc03b257" providerId="ADAL" clId="{5310EB25-F9B9-4A97-A366-9C3AA60D0180}" dt="2023-03-06T10:56:53.524" v="152" actId="6549"/>
          <ac:spMkLst>
            <pc:docMk/>
            <pc:sldMk cId="4241780383" sldId="2146846932"/>
            <ac:spMk id="9" creationId="{F73D699F-F851-4FC8-A451-7DA70A9AAF4B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0:57:06.510" v="154" actId="6549"/>
        <pc:sldMkLst>
          <pc:docMk/>
          <pc:sldMk cId="1913528199" sldId="2146846934"/>
        </pc:sldMkLst>
        <pc:spChg chg="mod">
          <ac:chgData name="Laurent Thiebaut (Nokia)" userId="5a0f83ef-4330-4e17-8828-eca8fc03b257" providerId="ADAL" clId="{5310EB25-F9B9-4A97-A366-9C3AA60D0180}" dt="2023-03-06T10:57:06.510" v="154" actId="6549"/>
          <ac:spMkLst>
            <pc:docMk/>
            <pc:sldMk cId="1913528199" sldId="2146846934"/>
            <ac:spMk id="3" creationId="{A305376B-8071-4719-B971-8158735C5B7F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36:38.054" v="565" actId="313"/>
        <pc:sldMkLst>
          <pc:docMk/>
          <pc:sldMk cId="3082976717" sldId="2146846969"/>
        </pc:sldMkLst>
        <pc:spChg chg="mod">
          <ac:chgData name="Laurent Thiebaut (Nokia)" userId="5a0f83ef-4330-4e17-8828-eca8fc03b257" providerId="ADAL" clId="{5310EB25-F9B9-4A97-A366-9C3AA60D0180}" dt="2023-03-06T12:35:55.007" v="543" actId="313"/>
          <ac:spMkLst>
            <pc:docMk/>
            <pc:sldMk cId="3082976717" sldId="2146846969"/>
            <ac:spMk id="2" creationId="{F70F07A9-7566-47FB-960B-B0CAB30102A8}"/>
          </ac:spMkLst>
        </pc:spChg>
        <pc:spChg chg="mod">
          <ac:chgData name="Laurent Thiebaut (Nokia)" userId="5a0f83ef-4330-4e17-8828-eca8fc03b257" providerId="ADAL" clId="{5310EB25-F9B9-4A97-A366-9C3AA60D0180}" dt="2023-03-06T12:36:38.054" v="565" actId="313"/>
          <ac:spMkLst>
            <pc:docMk/>
            <pc:sldMk cId="3082976717" sldId="2146846969"/>
            <ac:spMk id="3" creationId="{01DA5E5C-E00E-43FE-95B5-C7F208BADC76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35:57.713" v="545" actId="313"/>
        <pc:sldMkLst>
          <pc:docMk/>
          <pc:sldMk cId="3297987572" sldId="2146846970"/>
        </pc:sldMkLst>
        <pc:spChg chg="mod">
          <ac:chgData name="Laurent Thiebaut (Nokia)" userId="5a0f83ef-4330-4e17-8828-eca8fc03b257" providerId="ADAL" clId="{5310EB25-F9B9-4A97-A366-9C3AA60D0180}" dt="2023-03-06T12:23:35.565" v="397" actId="6549"/>
          <ac:spMkLst>
            <pc:docMk/>
            <pc:sldMk cId="3297987572" sldId="2146846970"/>
            <ac:spMk id="2" creationId="{F70F07A9-7566-47FB-960B-B0CAB30102A8}"/>
          </ac:spMkLst>
        </pc:spChg>
        <pc:spChg chg="mod">
          <ac:chgData name="Laurent Thiebaut (Nokia)" userId="5a0f83ef-4330-4e17-8828-eca8fc03b257" providerId="ADAL" clId="{5310EB25-F9B9-4A97-A366-9C3AA60D0180}" dt="2023-03-06T12:35:57.713" v="545" actId="313"/>
          <ac:spMkLst>
            <pc:docMk/>
            <pc:sldMk cId="3297987572" sldId="2146846970"/>
            <ac:spMk id="3" creationId="{01DA5E5C-E00E-43FE-95B5-C7F208BADC76}"/>
          </ac:spMkLst>
        </pc:spChg>
        <pc:spChg chg="mod">
          <ac:chgData name="Laurent Thiebaut (Nokia)" userId="5a0f83ef-4330-4e17-8828-eca8fc03b257" providerId="ADAL" clId="{5310EB25-F9B9-4A97-A366-9C3AA60D0180}" dt="2023-03-06T11:56:39.116" v="180" actId="27636"/>
          <ac:spMkLst>
            <pc:docMk/>
            <pc:sldMk cId="3297987572" sldId="2146846970"/>
            <ac:spMk id="4" creationId="{FD9B9349-5219-4A4E-8125-7E6F849D4C07}"/>
          </ac:spMkLst>
        </pc:spChg>
      </pc:sldChg>
      <pc:sldChg chg="modSp mod ord">
        <pc:chgData name="Laurent Thiebaut (Nokia)" userId="5a0f83ef-4330-4e17-8828-eca8fc03b257" providerId="ADAL" clId="{5310EB25-F9B9-4A97-A366-9C3AA60D0180}" dt="2023-03-06T12:36:38.610" v="566" actId="313"/>
        <pc:sldMkLst>
          <pc:docMk/>
          <pc:sldMk cId="4261611388" sldId="2146846971"/>
        </pc:sldMkLst>
        <pc:spChg chg="mod">
          <ac:chgData name="Laurent Thiebaut (Nokia)" userId="5a0f83ef-4330-4e17-8828-eca8fc03b257" providerId="ADAL" clId="{5310EB25-F9B9-4A97-A366-9C3AA60D0180}" dt="2023-03-06T12:35:58.810" v="546" actId="313"/>
          <ac:spMkLst>
            <pc:docMk/>
            <pc:sldMk cId="4261611388" sldId="2146846971"/>
            <ac:spMk id="2" creationId="{F70F07A9-7566-47FB-960B-B0CAB30102A8}"/>
          </ac:spMkLst>
        </pc:spChg>
        <pc:spChg chg="mod">
          <ac:chgData name="Laurent Thiebaut (Nokia)" userId="5a0f83ef-4330-4e17-8828-eca8fc03b257" providerId="ADAL" clId="{5310EB25-F9B9-4A97-A366-9C3AA60D0180}" dt="2023-03-06T12:36:38.610" v="566" actId="313"/>
          <ac:spMkLst>
            <pc:docMk/>
            <pc:sldMk cId="4261611388" sldId="2146846971"/>
            <ac:spMk id="3" creationId="{01DA5E5C-E00E-43FE-95B5-C7F208BADC76}"/>
          </ac:spMkLst>
        </pc:spChg>
      </pc:sldChg>
      <pc:sldChg chg="del">
        <pc:chgData name="Laurent Thiebaut (Nokia)" userId="5a0f83ef-4330-4e17-8828-eca8fc03b257" providerId="ADAL" clId="{5310EB25-F9B9-4A97-A366-9C3AA60D0180}" dt="2023-03-06T12:24:10.471" v="404" actId="2696"/>
        <pc:sldMkLst>
          <pc:docMk/>
          <pc:sldMk cId="1401639605" sldId="2146846972"/>
        </pc:sldMkLst>
      </pc:sldChg>
      <pc:sldChg chg="modSp add mod">
        <pc:chgData name="Laurent Thiebaut (Nokia)" userId="5a0f83ef-4330-4e17-8828-eca8fc03b257" providerId="ADAL" clId="{5310EB25-F9B9-4A97-A366-9C3AA60D0180}" dt="2023-03-06T12:28:20.177" v="439" actId="403"/>
        <pc:sldMkLst>
          <pc:docMk/>
          <pc:sldMk cId="1993813993" sldId="2146846972"/>
        </pc:sldMkLst>
        <pc:spChg chg="mod">
          <ac:chgData name="Laurent Thiebaut (Nokia)" userId="5a0f83ef-4330-4e17-8828-eca8fc03b257" providerId="ADAL" clId="{5310EB25-F9B9-4A97-A366-9C3AA60D0180}" dt="2023-03-06T12:28:20.177" v="439" actId="403"/>
          <ac:spMkLst>
            <pc:docMk/>
            <pc:sldMk cId="1993813993" sldId="2146846972"/>
            <ac:spMk id="2" creationId="{F70F07A9-7566-47FB-960B-B0CAB30102A8}"/>
          </ac:spMkLst>
        </pc:spChg>
        <pc:spChg chg="mod">
          <ac:chgData name="Laurent Thiebaut (Nokia)" userId="5a0f83ef-4330-4e17-8828-eca8fc03b257" providerId="ADAL" clId="{5310EB25-F9B9-4A97-A366-9C3AA60D0180}" dt="2023-03-06T12:28:16.349" v="438" actId="403"/>
          <ac:spMkLst>
            <pc:docMk/>
            <pc:sldMk cId="1993813993" sldId="2146846972"/>
            <ac:spMk id="3" creationId="{01DA5E5C-E00E-43FE-95B5-C7F208BADC76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0:57:01.010" v="153" actId="6549"/>
        <pc:sldMkLst>
          <pc:docMk/>
          <pc:sldMk cId="1001977197" sldId="2146846974"/>
        </pc:sldMkLst>
        <pc:spChg chg="mod">
          <ac:chgData name="Laurent Thiebaut (Nokia)" userId="5a0f83ef-4330-4e17-8828-eca8fc03b257" providerId="ADAL" clId="{5310EB25-F9B9-4A97-A366-9C3AA60D0180}" dt="2023-03-06T10:57:01.010" v="153" actId="6549"/>
          <ac:spMkLst>
            <pc:docMk/>
            <pc:sldMk cId="1001977197" sldId="2146846974"/>
            <ac:spMk id="3" creationId="{A305376B-8071-4719-B971-8158735C5B7F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0:57:12.959" v="155" actId="6549"/>
        <pc:sldMkLst>
          <pc:docMk/>
          <pc:sldMk cId="996509344" sldId="2146846975"/>
        </pc:sldMkLst>
        <pc:spChg chg="mod">
          <ac:chgData name="Laurent Thiebaut (Nokia)" userId="5a0f83ef-4330-4e17-8828-eca8fc03b257" providerId="ADAL" clId="{5310EB25-F9B9-4A97-A366-9C3AA60D0180}" dt="2023-03-06T10:57:12.959" v="155" actId="6549"/>
          <ac:spMkLst>
            <pc:docMk/>
            <pc:sldMk cId="996509344" sldId="2146846975"/>
            <ac:spMk id="3" creationId="{A305376B-8071-4719-B971-8158735C5B7F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20:10.974" v="388" actId="20577"/>
        <pc:sldMkLst>
          <pc:docMk/>
          <pc:sldMk cId="3858645594" sldId="2146846988"/>
        </pc:sldMkLst>
        <pc:spChg chg="mod">
          <ac:chgData name="Laurent Thiebaut (Nokia)" userId="5a0f83ef-4330-4e17-8828-eca8fc03b257" providerId="ADAL" clId="{5310EB25-F9B9-4A97-A366-9C3AA60D0180}" dt="2023-03-06T12:20:10.974" v="388" actId="20577"/>
          <ac:spMkLst>
            <pc:docMk/>
            <pc:sldMk cId="3858645594" sldId="2146846988"/>
            <ac:spMk id="13" creationId="{FD98391A-3215-45FE-9F20-A1163D4C503B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46:31.793" v="631" actId="2711"/>
        <pc:sldMkLst>
          <pc:docMk/>
          <pc:sldMk cId="1156943905" sldId="2146846991"/>
        </pc:sldMkLst>
        <pc:spChg chg="mod">
          <ac:chgData name="Laurent Thiebaut (Nokia)" userId="5a0f83ef-4330-4e17-8828-eca8fc03b257" providerId="ADAL" clId="{5310EB25-F9B9-4A97-A366-9C3AA60D0180}" dt="2023-03-06T10:52:51.482" v="31"/>
          <ac:spMkLst>
            <pc:docMk/>
            <pc:sldMk cId="1156943905" sldId="2146846991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0:51:28.298" v="20"/>
          <ac:spMkLst>
            <pc:docMk/>
            <pc:sldMk cId="1156943905" sldId="2146846991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2:46:31.793" v="631" actId="2711"/>
          <ac:spMkLst>
            <pc:docMk/>
            <pc:sldMk cId="1156943905" sldId="2146846991"/>
            <ac:spMk id="4" creationId="{CD72C33D-DF40-4601-AF02-8DFD5A6EA958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46:06.873" v="625" actId="2711"/>
        <pc:sldMkLst>
          <pc:docMk/>
          <pc:sldMk cId="242945610" sldId="2146846992"/>
        </pc:sldMkLst>
        <pc:spChg chg="mod">
          <ac:chgData name="Laurent Thiebaut (Nokia)" userId="5a0f83ef-4330-4e17-8828-eca8fc03b257" providerId="ADAL" clId="{5310EB25-F9B9-4A97-A366-9C3AA60D0180}" dt="2023-03-06T10:52:37.450" v="30"/>
          <ac:spMkLst>
            <pc:docMk/>
            <pc:sldMk cId="242945610" sldId="2146846992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0:51:21.548" v="19"/>
          <ac:spMkLst>
            <pc:docMk/>
            <pc:sldMk cId="242945610" sldId="2146846992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2:46:06.873" v="625" actId="2711"/>
          <ac:spMkLst>
            <pc:docMk/>
            <pc:sldMk cId="242945610" sldId="2146846992"/>
            <ac:spMk id="4" creationId="{CD72C33D-DF40-4601-AF02-8DFD5A6EA958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36:21.579" v="548" actId="313"/>
        <pc:sldMkLst>
          <pc:docMk/>
          <pc:sldMk cId="39548436" sldId="2146846993"/>
        </pc:sldMkLst>
        <pc:spChg chg="mod">
          <ac:chgData name="Laurent Thiebaut (Nokia)" userId="5a0f83ef-4330-4e17-8828-eca8fc03b257" providerId="ADAL" clId="{5310EB25-F9B9-4A97-A366-9C3AA60D0180}" dt="2023-03-06T11:58:47.148" v="188" actId="6549"/>
          <ac:spMkLst>
            <pc:docMk/>
            <pc:sldMk cId="39548436" sldId="2146846993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2:36:21.579" v="548" actId="313"/>
          <ac:spMkLst>
            <pc:docMk/>
            <pc:sldMk cId="39548436" sldId="2146846993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1:59:08.959" v="191" actId="404"/>
          <ac:spMkLst>
            <pc:docMk/>
            <pc:sldMk cId="39548436" sldId="2146846993"/>
            <ac:spMk id="5" creationId="{BCDEC535-7E3A-FE76-6A95-6077FF45D700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1:59:43.712" v="200" actId="20577"/>
        <pc:sldMkLst>
          <pc:docMk/>
          <pc:sldMk cId="1027002710" sldId="2146846994"/>
        </pc:sldMkLst>
        <pc:spChg chg="mod">
          <ac:chgData name="Laurent Thiebaut (Nokia)" userId="5a0f83ef-4330-4e17-8828-eca8fc03b257" providerId="ADAL" clId="{5310EB25-F9B9-4A97-A366-9C3AA60D0180}" dt="2023-03-06T11:59:35.692" v="196" actId="6549"/>
          <ac:spMkLst>
            <pc:docMk/>
            <pc:sldMk cId="1027002710" sldId="2146846994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1:59:43.712" v="200" actId="20577"/>
          <ac:spMkLst>
            <pc:docMk/>
            <pc:sldMk cId="1027002710" sldId="2146846994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1:59:26.633" v="194" actId="1076"/>
          <ac:spMkLst>
            <pc:docMk/>
            <pc:sldMk cId="1027002710" sldId="2146846994"/>
            <ac:spMk id="5" creationId="{BCDEC535-7E3A-FE76-6A95-6077FF45D700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36:22.373" v="549" actId="313"/>
        <pc:sldMkLst>
          <pc:docMk/>
          <pc:sldMk cId="1201489492" sldId="2146846995"/>
        </pc:sldMkLst>
        <pc:spChg chg="mod">
          <ac:chgData name="Laurent Thiebaut (Nokia)" userId="5a0f83ef-4330-4e17-8828-eca8fc03b257" providerId="ADAL" clId="{5310EB25-F9B9-4A97-A366-9C3AA60D0180}" dt="2023-03-06T12:36:22.373" v="549" actId="313"/>
          <ac:spMkLst>
            <pc:docMk/>
            <pc:sldMk cId="1201489492" sldId="2146846995"/>
            <ac:spMk id="3" creationId="{506A8607-C5AE-48A7-9AC8-7B6F426DD14D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36:22.952" v="550" actId="313"/>
        <pc:sldMkLst>
          <pc:docMk/>
          <pc:sldMk cId="4286170476" sldId="2146846996"/>
        </pc:sldMkLst>
        <pc:spChg chg="mod">
          <ac:chgData name="Laurent Thiebaut (Nokia)" userId="5a0f83ef-4330-4e17-8828-eca8fc03b257" providerId="ADAL" clId="{5310EB25-F9B9-4A97-A366-9C3AA60D0180}" dt="2023-03-06T12:36:22.952" v="550" actId="313"/>
          <ac:spMkLst>
            <pc:docMk/>
            <pc:sldMk cId="4286170476" sldId="2146846996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2:09:36.878" v="306" actId="404"/>
          <ac:spMkLst>
            <pc:docMk/>
            <pc:sldMk cId="4286170476" sldId="2146846996"/>
            <ac:spMk id="5" creationId="{BCDEC535-7E3A-FE76-6A95-6077FF45D700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584787385" sldId="2146846997"/>
        </pc:sldMkLst>
      </pc:sldChg>
      <pc:sldChg chg="modSp add mod">
        <pc:chgData name="Laurent Thiebaut (Nokia)" userId="5a0f83ef-4330-4e17-8828-eca8fc03b257" providerId="ADAL" clId="{5310EB25-F9B9-4A97-A366-9C3AA60D0180}" dt="2023-03-06T12:32:16.562" v="500"/>
        <pc:sldMkLst>
          <pc:docMk/>
          <pc:sldMk cId="3512330856" sldId="2146846997"/>
        </pc:sldMkLst>
        <pc:spChg chg="mod">
          <ac:chgData name="Laurent Thiebaut (Nokia)" userId="5a0f83ef-4330-4e17-8828-eca8fc03b257" providerId="ADAL" clId="{5310EB25-F9B9-4A97-A366-9C3AA60D0180}" dt="2023-03-06T12:32:16.562" v="500"/>
          <ac:spMkLst>
            <pc:docMk/>
            <pc:sldMk cId="3512330856" sldId="2146846997"/>
            <ac:spMk id="10" creationId="{FB17815A-60B6-42D8-9720-6AE98A1B851D}"/>
          </ac:spMkLst>
        </pc:spChg>
        <pc:spChg chg="mod">
          <ac:chgData name="Laurent Thiebaut (Nokia)" userId="5a0f83ef-4330-4e17-8828-eca8fc03b257" providerId="ADAL" clId="{5310EB25-F9B9-4A97-A366-9C3AA60D0180}" dt="2023-03-06T12:31:41.477" v="498" actId="6549"/>
          <ac:spMkLst>
            <pc:docMk/>
            <pc:sldMk cId="3512330856" sldId="2146846997"/>
            <ac:spMk id="11" creationId="{4530E830-5FE1-4CA0-8A0E-B78352611AD4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32:39.801" v="504" actId="255"/>
        <pc:sldMkLst>
          <pc:docMk/>
          <pc:sldMk cId="1847786844" sldId="2146846998"/>
        </pc:sldMkLst>
        <pc:spChg chg="mod">
          <ac:chgData name="Laurent Thiebaut (Nokia)" userId="5a0f83ef-4330-4e17-8828-eca8fc03b257" providerId="ADAL" clId="{5310EB25-F9B9-4A97-A366-9C3AA60D0180}" dt="2023-03-06T12:32:39.801" v="504" actId="255"/>
          <ac:spMkLst>
            <pc:docMk/>
            <pc:sldMk cId="1847786844" sldId="2146846998"/>
            <ac:spMk id="6" creationId="{2E20DBE3-132B-4E49-9B12-D7A9DE1B1D38}"/>
          </ac:spMkLst>
        </pc:spChg>
        <pc:spChg chg="mod">
          <ac:chgData name="Laurent Thiebaut (Nokia)" userId="5a0f83ef-4330-4e17-8828-eca8fc03b257" providerId="ADAL" clId="{5310EB25-F9B9-4A97-A366-9C3AA60D0180}" dt="2023-03-06T12:32:23.890" v="501"/>
          <ac:spMkLst>
            <pc:docMk/>
            <pc:sldMk cId="1847786844" sldId="2146846998"/>
            <ac:spMk id="10" creationId="{FB17815A-60B6-42D8-9720-6AE98A1B851D}"/>
          </ac:spMkLst>
        </pc:spChg>
        <pc:spChg chg="mod">
          <ac:chgData name="Laurent Thiebaut (Nokia)" userId="5a0f83ef-4330-4e17-8828-eca8fc03b257" providerId="ADAL" clId="{5310EB25-F9B9-4A97-A366-9C3AA60D0180}" dt="2023-03-06T12:32:28.072" v="502" actId="6549"/>
          <ac:spMkLst>
            <pc:docMk/>
            <pc:sldMk cId="1847786844" sldId="2146846998"/>
            <ac:spMk id="11" creationId="{4530E830-5FE1-4CA0-8A0E-B78352611AD4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3805609563" sldId="2146846998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3255224694" sldId="2146846999"/>
        </pc:sldMkLst>
      </pc:sldChg>
      <pc:sldChg chg="modSp add mod">
        <pc:chgData name="Laurent Thiebaut (Nokia)" userId="5a0f83ef-4330-4e17-8828-eca8fc03b257" providerId="ADAL" clId="{5310EB25-F9B9-4A97-A366-9C3AA60D0180}" dt="2023-03-06T12:33:50.475" v="511" actId="6549"/>
        <pc:sldMkLst>
          <pc:docMk/>
          <pc:sldMk cId="3464578784" sldId="2146846999"/>
        </pc:sldMkLst>
        <pc:spChg chg="mod">
          <ac:chgData name="Laurent Thiebaut (Nokia)" userId="5a0f83ef-4330-4e17-8828-eca8fc03b257" providerId="ADAL" clId="{5310EB25-F9B9-4A97-A366-9C3AA60D0180}" dt="2023-03-06T12:33:50.475" v="511" actId="6549"/>
          <ac:spMkLst>
            <pc:docMk/>
            <pc:sldMk cId="3464578784" sldId="2146846999"/>
            <ac:spMk id="10" creationId="{FB17815A-60B6-42D8-9720-6AE98A1B851D}"/>
          </ac:spMkLst>
        </pc:spChg>
        <pc:spChg chg="mod">
          <ac:chgData name="Laurent Thiebaut (Nokia)" userId="5a0f83ef-4330-4e17-8828-eca8fc03b257" providerId="ADAL" clId="{5310EB25-F9B9-4A97-A366-9C3AA60D0180}" dt="2023-03-06T12:32:59.861" v="507" actId="20577"/>
          <ac:spMkLst>
            <pc:docMk/>
            <pc:sldMk cId="3464578784" sldId="2146846999"/>
            <ac:spMk id="11" creationId="{4530E830-5FE1-4CA0-8A0E-B78352611AD4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35:06.162" v="523"/>
        <pc:sldMkLst>
          <pc:docMk/>
          <pc:sldMk cId="2401880233" sldId="2146847000"/>
        </pc:sldMkLst>
        <pc:spChg chg="mod">
          <ac:chgData name="Laurent Thiebaut (Nokia)" userId="5a0f83ef-4330-4e17-8828-eca8fc03b257" providerId="ADAL" clId="{5310EB25-F9B9-4A97-A366-9C3AA60D0180}" dt="2023-03-06T12:35:06.162" v="523"/>
          <ac:spMkLst>
            <pc:docMk/>
            <pc:sldMk cId="2401880233" sldId="2146847000"/>
            <ac:spMk id="8" creationId="{D96F8373-3619-46F0-A35D-7DD387415B80}"/>
          </ac:spMkLst>
        </pc:spChg>
        <pc:spChg chg="mod">
          <ac:chgData name="Laurent Thiebaut (Nokia)" userId="5a0f83ef-4330-4e17-8828-eca8fc03b257" providerId="ADAL" clId="{5310EB25-F9B9-4A97-A366-9C3AA60D0180}" dt="2023-03-06T12:34:17.746" v="514" actId="20577"/>
          <ac:spMkLst>
            <pc:docMk/>
            <pc:sldMk cId="2401880233" sldId="2146847000"/>
            <ac:spMk id="13" creationId="{FC1993F7-24C6-4BBC-AF3D-0789CEBDF50F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3720784986" sldId="2146847000"/>
        </pc:sldMkLst>
      </pc:sldChg>
      <pc:sldChg chg="modSp add mod">
        <pc:chgData name="Laurent Thiebaut (Nokia)" userId="5a0f83ef-4330-4e17-8828-eca8fc03b257" providerId="ADAL" clId="{5310EB25-F9B9-4A97-A366-9C3AA60D0180}" dt="2023-03-06T12:35:15.845" v="525"/>
        <pc:sldMkLst>
          <pc:docMk/>
          <pc:sldMk cId="459190125" sldId="2146847001"/>
        </pc:sldMkLst>
        <pc:spChg chg="mod">
          <ac:chgData name="Laurent Thiebaut (Nokia)" userId="5a0f83ef-4330-4e17-8828-eca8fc03b257" providerId="ADAL" clId="{5310EB25-F9B9-4A97-A366-9C3AA60D0180}" dt="2023-03-06T12:35:15.845" v="525"/>
          <ac:spMkLst>
            <pc:docMk/>
            <pc:sldMk cId="459190125" sldId="2146847001"/>
            <ac:spMk id="8" creationId="{F7FDE1E2-1EBE-47F8-814E-80CE09321C51}"/>
          </ac:spMkLst>
        </pc:spChg>
        <pc:spChg chg="mod">
          <ac:chgData name="Laurent Thiebaut (Nokia)" userId="5a0f83ef-4330-4e17-8828-eca8fc03b257" providerId="ADAL" clId="{5310EB25-F9B9-4A97-A366-9C3AA60D0180}" dt="2023-03-06T12:34:33.037" v="516" actId="6549"/>
          <ac:spMkLst>
            <pc:docMk/>
            <pc:sldMk cId="459190125" sldId="2146847001"/>
            <ac:spMk id="13" creationId="{FC1993F7-24C6-4BBC-AF3D-0789CEBDF50F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1928779831" sldId="2146847001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505672447" sldId="2146847002"/>
        </pc:sldMkLst>
      </pc:sldChg>
      <pc:sldChg chg="modSp add mod">
        <pc:chgData name="Laurent Thiebaut (Nokia)" userId="5a0f83ef-4330-4e17-8828-eca8fc03b257" providerId="ADAL" clId="{5310EB25-F9B9-4A97-A366-9C3AA60D0180}" dt="2023-03-06T12:36:28.740" v="551" actId="313"/>
        <pc:sldMkLst>
          <pc:docMk/>
          <pc:sldMk cId="3381785340" sldId="2146847002"/>
        </pc:sldMkLst>
        <pc:spChg chg="mod">
          <ac:chgData name="Laurent Thiebaut (Nokia)" userId="5a0f83ef-4330-4e17-8828-eca8fc03b257" providerId="ADAL" clId="{5310EB25-F9B9-4A97-A366-9C3AA60D0180}" dt="2023-03-06T12:35:44.107" v="528" actId="313"/>
          <ac:spMkLst>
            <pc:docMk/>
            <pc:sldMk cId="3381785340" sldId="2146847002"/>
            <ac:spMk id="10" creationId="{FB17815A-60B6-42D8-9720-6AE98A1B851D}"/>
          </ac:spMkLst>
        </pc:spChg>
        <pc:spChg chg="mod">
          <ac:chgData name="Laurent Thiebaut (Nokia)" userId="5a0f83ef-4330-4e17-8828-eca8fc03b257" providerId="ADAL" clId="{5310EB25-F9B9-4A97-A366-9C3AA60D0180}" dt="2023-03-06T12:36:28.740" v="551" actId="313"/>
          <ac:spMkLst>
            <pc:docMk/>
            <pc:sldMk cId="3381785340" sldId="2146847002"/>
            <ac:spMk id="11" creationId="{4530E830-5FE1-4CA0-8A0E-B78352611AD4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36:29.379" v="552" actId="313"/>
        <pc:sldMkLst>
          <pc:docMk/>
          <pc:sldMk cId="2081322910" sldId="2146847003"/>
        </pc:sldMkLst>
        <pc:spChg chg="mod">
          <ac:chgData name="Laurent Thiebaut (Nokia)" userId="5a0f83ef-4330-4e17-8828-eca8fc03b257" providerId="ADAL" clId="{5310EB25-F9B9-4A97-A366-9C3AA60D0180}" dt="2023-03-06T12:35:45.153" v="529" actId="313"/>
          <ac:spMkLst>
            <pc:docMk/>
            <pc:sldMk cId="2081322910" sldId="2146847003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29.379" v="552" actId="313"/>
          <ac:spMkLst>
            <pc:docMk/>
            <pc:sldMk cId="2081322910" sldId="2146847003"/>
            <ac:spMk id="13" creationId="{B841B6B7-A497-4999-B341-57FC66D724DC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2435684361" sldId="2146847003"/>
        </pc:sldMkLst>
      </pc:sldChg>
      <pc:sldChg chg="modSp add mod">
        <pc:chgData name="Laurent Thiebaut (Nokia)" userId="5a0f83ef-4330-4e17-8828-eca8fc03b257" providerId="ADAL" clId="{5310EB25-F9B9-4A97-A366-9C3AA60D0180}" dt="2023-03-06T12:36:29.972" v="553" actId="313"/>
        <pc:sldMkLst>
          <pc:docMk/>
          <pc:sldMk cId="925060971" sldId="2146847004"/>
        </pc:sldMkLst>
        <pc:spChg chg="mod">
          <ac:chgData name="Laurent Thiebaut (Nokia)" userId="5a0f83ef-4330-4e17-8828-eca8fc03b257" providerId="ADAL" clId="{5310EB25-F9B9-4A97-A366-9C3AA60D0180}" dt="2023-03-06T12:35:45.918" v="530" actId="313"/>
          <ac:spMkLst>
            <pc:docMk/>
            <pc:sldMk cId="925060971" sldId="2146847004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29.972" v="553" actId="313"/>
          <ac:spMkLst>
            <pc:docMk/>
            <pc:sldMk cId="925060971" sldId="2146847004"/>
            <ac:spMk id="13" creationId="{B841B6B7-A497-4999-B341-57FC66D724DC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1177758861" sldId="2146847004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196135450" sldId="2146847005"/>
        </pc:sldMkLst>
      </pc:sldChg>
      <pc:sldChg chg="modSp add mod">
        <pc:chgData name="Laurent Thiebaut (Nokia)" userId="5a0f83ef-4330-4e17-8828-eca8fc03b257" providerId="ADAL" clId="{5310EB25-F9B9-4A97-A366-9C3AA60D0180}" dt="2023-03-06T12:36:30.520" v="554" actId="313"/>
        <pc:sldMkLst>
          <pc:docMk/>
          <pc:sldMk cId="1602088318" sldId="2146847005"/>
        </pc:sldMkLst>
        <pc:spChg chg="mod">
          <ac:chgData name="Laurent Thiebaut (Nokia)" userId="5a0f83ef-4330-4e17-8828-eca8fc03b257" providerId="ADAL" clId="{5310EB25-F9B9-4A97-A366-9C3AA60D0180}" dt="2023-03-06T12:35:47.586" v="531" actId="313"/>
          <ac:spMkLst>
            <pc:docMk/>
            <pc:sldMk cId="1602088318" sldId="2146847005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30.520" v="554" actId="313"/>
          <ac:spMkLst>
            <pc:docMk/>
            <pc:sldMk cId="1602088318" sldId="2146847005"/>
            <ac:spMk id="13" creationId="{B841B6B7-A497-4999-B341-57FC66D724DC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36:31.025" v="555" actId="313"/>
        <pc:sldMkLst>
          <pc:docMk/>
          <pc:sldMk cId="1391379458" sldId="2146847006"/>
        </pc:sldMkLst>
        <pc:spChg chg="mod">
          <ac:chgData name="Laurent Thiebaut (Nokia)" userId="5a0f83ef-4330-4e17-8828-eca8fc03b257" providerId="ADAL" clId="{5310EB25-F9B9-4A97-A366-9C3AA60D0180}" dt="2023-03-06T12:35:48.150" v="532" actId="313"/>
          <ac:spMkLst>
            <pc:docMk/>
            <pc:sldMk cId="1391379458" sldId="2146847006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31.025" v="555" actId="313"/>
          <ac:spMkLst>
            <pc:docMk/>
            <pc:sldMk cId="1391379458" sldId="2146847006"/>
            <ac:spMk id="13" creationId="{B841B6B7-A497-4999-B341-57FC66D724DC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2956599082" sldId="2146847006"/>
        </pc:sldMkLst>
      </pc:sldChg>
      <pc:sldChg chg="modSp add mod">
        <pc:chgData name="Laurent Thiebaut (Nokia)" userId="5a0f83ef-4330-4e17-8828-eca8fc03b257" providerId="ADAL" clId="{5310EB25-F9B9-4A97-A366-9C3AA60D0180}" dt="2023-03-06T12:36:31.573" v="556" actId="313"/>
        <pc:sldMkLst>
          <pc:docMk/>
          <pc:sldMk cId="1159751284" sldId="2146847007"/>
        </pc:sldMkLst>
        <pc:spChg chg="mod">
          <ac:chgData name="Laurent Thiebaut (Nokia)" userId="5a0f83ef-4330-4e17-8828-eca8fc03b257" providerId="ADAL" clId="{5310EB25-F9B9-4A97-A366-9C3AA60D0180}" dt="2023-03-06T12:35:48.705" v="533" actId="313"/>
          <ac:spMkLst>
            <pc:docMk/>
            <pc:sldMk cId="1159751284" sldId="2146847007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31.573" v="556" actId="313"/>
          <ac:spMkLst>
            <pc:docMk/>
            <pc:sldMk cId="1159751284" sldId="2146847007"/>
            <ac:spMk id="13" creationId="{B841B6B7-A497-4999-B341-57FC66D724DC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2318834556" sldId="2146847007"/>
        </pc:sldMkLst>
      </pc:sldChg>
      <pc:sldChg chg="modSp add mod">
        <pc:chgData name="Laurent Thiebaut (Nokia)" userId="5a0f83ef-4330-4e17-8828-eca8fc03b257" providerId="ADAL" clId="{5310EB25-F9B9-4A97-A366-9C3AA60D0180}" dt="2023-03-06T12:36:32.099" v="557" actId="313"/>
        <pc:sldMkLst>
          <pc:docMk/>
          <pc:sldMk cId="1731012252" sldId="2146847008"/>
        </pc:sldMkLst>
        <pc:spChg chg="mod">
          <ac:chgData name="Laurent Thiebaut (Nokia)" userId="5a0f83ef-4330-4e17-8828-eca8fc03b257" providerId="ADAL" clId="{5310EB25-F9B9-4A97-A366-9C3AA60D0180}" dt="2023-03-06T12:35:49.255" v="534" actId="313"/>
          <ac:spMkLst>
            <pc:docMk/>
            <pc:sldMk cId="1731012252" sldId="2146847008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32.099" v="557" actId="313"/>
          <ac:spMkLst>
            <pc:docMk/>
            <pc:sldMk cId="1731012252" sldId="2146847008"/>
            <ac:spMk id="13" creationId="{B841B6B7-A497-4999-B341-57FC66D724DC}"/>
          </ac:spMkLst>
        </pc:spChg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4070249187" sldId="2146847008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1691450444" sldId="2146847009"/>
        </pc:sldMkLst>
      </pc:sldChg>
      <pc:sldChg chg="modSp add mod">
        <pc:chgData name="Laurent Thiebaut (Nokia)" userId="5a0f83ef-4330-4e17-8828-eca8fc03b257" providerId="ADAL" clId="{5310EB25-F9B9-4A97-A366-9C3AA60D0180}" dt="2023-03-06T12:36:33.561" v="559" actId="313"/>
        <pc:sldMkLst>
          <pc:docMk/>
          <pc:sldMk cId="3028055264" sldId="2146847009"/>
        </pc:sldMkLst>
        <pc:spChg chg="mod">
          <ac:chgData name="Laurent Thiebaut (Nokia)" userId="5a0f83ef-4330-4e17-8828-eca8fc03b257" providerId="ADAL" clId="{5310EB25-F9B9-4A97-A366-9C3AA60D0180}" dt="2023-03-06T12:35:52.901" v="538" actId="313"/>
          <ac:spMkLst>
            <pc:docMk/>
            <pc:sldMk cId="3028055264" sldId="2146847009"/>
            <ac:spMk id="12" creationId="{DDA77D15-BCAF-4448-B60E-151B8B9A6F85}"/>
          </ac:spMkLst>
        </pc:spChg>
        <pc:spChg chg="mod">
          <ac:chgData name="Laurent Thiebaut (Nokia)" userId="5a0f83ef-4330-4e17-8828-eca8fc03b257" providerId="ADAL" clId="{5310EB25-F9B9-4A97-A366-9C3AA60D0180}" dt="2023-03-06T12:36:33.561" v="559" actId="313"/>
          <ac:spMkLst>
            <pc:docMk/>
            <pc:sldMk cId="3028055264" sldId="2146847009"/>
            <ac:spMk id="13" creationId="{B841B6B7-A497-4999-B341-57FC66D724DC}"/>
          </ac:spMkLst>
        </pc:spChg>
      </pc:sldChg>
      <pc:sldChg chg="add">
        <pc:chgData name="Laurent Thiebaut (Nokia)" userId="5a0f83ef-4330-4e17-8828-eca8fc03b257" providerId="ADAL" clId="{5310EB25-F9B9-4A97-A366-9C3AA60D0180}" dt="2023-03-05T19:55:27.339" v="1"/>
        <pc:sldMkLst>
          <pc:docMk/>
          <pc:sldMk cId="550126383" sldId="2146847010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1684592820" sldId="2146847010"/>
        </pc:sldMkLst>
      </pc:sldChg>
      <pc:sldChg chg="del">
        <pc:chgData name="Laurent Thiebaut (Nokia)" userId="5a0f83ef-4330-4e17-8828-eca8fc03b257" providerId="ADAL" clId="{5310EB25-F9B9-4A97-A366-9C3AA60D0180}" dt="2023-03-05T19:55:14.894" v="0" actId="2696"/>
        <pc:sldMkLst>
          <pc:docMk/>
          <pc:sldMk cId="386053591" sldId="2146847011"/>
        </pc:sldMkLst>
      </pc:sldChg>
      <pc:sldChg chg="modSp add mod">
        <pc:chgData name="Laurent Thiebaut (Nokia)" userId="5a0f83ef-4330-4e17-8828-eca8fc03b257" providerId="ADAL" clId="{5310EB25-F9B9-4A97-A366-9C3AA60D0180}" dt="2023-03-06T12:36:37.102" v="564" actId="313"/>
        <pc:sldMkLst>
          <pc:docMk/>
          <pc:sldMk cId="2048931770" sldId="2146847011"/>
        </pc:sldMkLst>
        <pc:spChg chg="mod">
          <ac:chgData name="Laurent Thiebaut (Nokia)" userId="5a0f83ef-4330-4e17-8828-eca8fc03b257" providerId="ADAL" clId="{5310EB25-F9B9-4A97-A366-9C3AA60D0180}" dt="2023-03-06T12:36:37.102" v="564" actId="313"/>
          <ac:spMkLst>
            <pc:docMk/>
            <pc:sldMk cId="2048931770" sldId="2146847011"/>
            <ac:spMk id="11" creationId="{4530E830-5FE1-4CA0-8A0E-B78352611AD4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07:17.330" v="303"/>
        <pc:sldMkLst>
          <pc:docMk/>
          <pc:sldMk cId="968299826" sldId="2146847012"/>
        </pc:sldMkLst>
        <pc:spChg chg="mod">
          <ac:chgData name="Laurent Thiebaut (Nokia)" userId="5a0f83ef-4330-4e17-8828-eca8fc03b257" providerId="ADAL" clId="{5310EB25-F9B9-4A97-A366-9C3AA60D0180}" dt="2023-03-06T12:07:17.330" v="303"/>
          <ac:spMkLst>
            <pc:docMk/>
            <pc:sldMk cId="968299826" sldId="2146847012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2:06:26.954" v="299" actId="20577"/>
          <ac:spMkLst>
            <pc:docMk/>
            <pc:sldMk cId="968299826" sldId="2146847012"/>
            <ac:spMk id="4" creationId="{CD72C33D-DF40-4601-AF02-8DFD5A6EA958}"/>
          </ac:spMkLst>
        </pc:spChg>
        <pc:graphicFrameChg chg="mod">
          <ac:chgData name="Laurent Thiebaut (Nokia)" userId="5a0f83ef-4330-4e17-8828-eca8fc03b257" providerId="ADAL" clId="{5310EB25-F9B9-4A97-A366-9C3AA60D0180}" dt="2023-03-06T12:06:34.345" v="300" actId="1076"/>
          <ac:graphicFrameMkLst>
            <pc:docMk/>
            <pc:sldMk cId="968299826" sldId="2146847012"/>
            <ac:graphicFrameMk id="5" creationId="{C8BBFCFC-A916-4DFF-91B3-3D3FB6D6A8D0}"/>
          </ac:graphicFrameMkLst>
        </pc:graphicFrameChg>
      </pc:sldChg>
      <pc:sldChg chg="modSp mod">
        <pc:chgData name="Laurent Thiebaut (Nokia)" userId="5a0f83ef-4330-4e17-8828-eca8fc03b257" providerId="ADAL" clId="{5310EB25-F9B9-4A97-A366-9C3AA60D0180}" dt="2023-03-06T11:56:39.183" v="182" actId="27636"/>
        <pc:sldMkLst>
          <pc:docMk/>
          <pc:sldMk cId="424991875" sldId="2146847013"/>
        </pc:sldMkLst>
        <pc:spChg chg="mod">
          <ac:chgData name="Laurent Thiebaut (Nokia)" userId="5a0f83ef-4330-4e17-8828-eca8fc03b257" providerId="ADAL" clId="{5310EB25-F9B9-4A97-A366-9C3AA60D0180}" dt="2023-03-06T10:54:33.058" v="40" actId="6549"/>
          <ac:spMkLst>
            <pc:docMk/>
            <pc:sldMk cId="424991875" sldId="2146847013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1:56:39.183" v="182" actId="27636"/>
          <ac:spMkLst>
            <pc:docMk/>
            <pc:sldMk cId="424991875" sldId="2146847013"/>
            <ac:spMk id="4" creationId="{CD72C33D-DF40-4601-AF02-8DFD5A6EA958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0:55:16.013" v="44" actId="108"/>
        <pc:sldMkLst>
          <pc:docMk/>
          <pc:sldMk cId="2527299249" sldId="2146847014"/>
        </pc:sldMkLst>
        <pc:spChg chg="mod">
          <ac:chgData name="Laurent Thiebaut (Nokia)" userId="5a0f83ef-4330-4e17-8828-eca8fc03b257" providerId="ADAL" clId="{5310EB25-F9B9-4A97-A366-9C3AA60D0180}" dt="2023-03-06T10:55:16.013" v="44" actId="108"/>
          <ac:spMkLst>
            <pc:docMk/>
            <pc:sldMk cId="2527299249" sldId="2146847014"/>
            <ac:spMk id="3" creationId="{506A8607-C5AE-48A7-9AC8-7B6F426DD14D}"/>
          </ac:spMkLst>
        </pc:spChg>
      </pc:sldChg>
      <pc:sldChg chg="addSp modSp mod">
        <pc:chgData name="Laurent Thiebaut (Nokia)" userId="5a0f83ef-4330-4e17-8828-eca8fc03b257" providerId="ADAL" clId="{5310EB25-F9B9-4A97-A366-9C3AA60D0180}" dt="2023-03-06T10:56:23.024" v="143" actId="108"/>
        <pc:sldMkLst>
          <pc:docMk/>
          <pc:sldMk cId="2246397476" sldId="2146847016"/>
        </pc:sldMkLst>
        <pc:spChg chg="mod">
          <ac:chgData name="Laurent Thiebaut (Nokia)" userId="5a0f83ef-4330-4e17-8828-eca8fc03b257" providerId="ADAL" clId="{5310EB25-F9B9-4A97-A366-9C3AA60D0180}" dt="2023-03-06T10:56:23.024" v="143" actId="108"/>
          <ac:spMkLst>
            <pc:docMk/>
            <pc:sldMk cId="2246397476" sldId="2146847016"/>
            <ac:spMk id="3" creationId="{506A8607-C5AE-48A7-9AC8-7B6F426DD14D}"/>
          </ac:spMkLst>
        </pc:spChg>
        <pc:spChg chg="add mod">
          <ac:chgData name="Laurent Thiebaut (Nokia)" userId="5a0f83ef-4330-4e17-8828-eca8fc03b257" providerId="ADAL" clId="{5310EB25-F9B9-4A97-A366-9C3AA60D0180}" dt="2023-03-06T10:55:47.554" v="140" actId="6549"/>
          <ac:spMkLst>
            <pc:docMk/>
            <pc:sldMk cId="2246397476" sldId="2146847016"/>
            <ac:spMk id="5" creationId="{9C85103D-B0D5-41B0-AA89-2E4103BB84D1}"/>
          </ac:spMkLst>
        </pc:spChg>
      </pc:sldChg>
      <pc:sldChg chg="del">
        <pc:chgData name="Laurent Thiebaut (Nokia)" userId="5a0f83ef-4330-4e17-8828-eca8fc03b257" providerId="ADAL" clId="{5310EB25-F9B9-4A97-A366-9C3AA60D0180}" dt="2023-03-06T12:24:10.471" v="404" actId="2696"/>
        <pc:sldMkLst>
          <pc:docMk/>
          <pc:sldMk cId="2840831110" sldId="2146847017"/>
        </pc:sldMkLst>
      </pc:sldChg>
      <pc:sldChg chg="modSp add del mod">
        <pc:chgData name="Laurent Thiebaut (Nokia)" userId="5a0f83ef-4330-4e17-8828-eca8fc03b257" providerId="ADAL" clId="{5310EB25-F9B9-4A97-A366-9C3AA60D0180}" dt="2023-03-06T12:31:14.675" v="494" actId="47"/>
        <pc:sldMkLst>
          <pc:docMk/>
          <pc:sldMk cId="3392434360" sldId="2146847017"/>
        </pc:sldMkLst>
        <pc:spChg chg="mod">
          <ac:chgData name="Laurent Thiebaut (Nokia)" userId="5a0f83ef-4330-4e17-8828-eca8fc03b257" providerId="ADAL" clId="{5310EB25-F9B9-4A97-A366-9C3AA60D0180}" dt="2023-03-06T12:30:43.980" v="488" actId="27636"/>
          <ac:spMkLst>
            <pc:docMk/>
            <pc:sldMk cId="3392434360" sldId="2146847017"/>
            <ac:spMk id="4" creationId="{FD9B9349-5219-4A4E-8125-7E6F849D4C07}"/>
          </ac:spMkLst>
        </pc:spChg>
      </pc:sldChg>
      <pc:sldChg chg="modSp del mod">
        <pc:chgData name="Laurent Thiebaut (Nokia)" userId="5a0f83ef-4330-4e17-8828-eca8fc03b257" providerId="ADAL" clId="{5310EB25-F9B9-4A97-A366-9C3AA60D0180}" dt="2023-03-06T12:24:10.471" v="404" actId="2696"/>
        <pc:sldMkLst>
          <pc:docMk/>
          <pc:sldMk cId="1468079078" sldId="2146847018"/>
        </pc:sldMkLst>
        <pc:spChg chg="mod">
          <ac:chgData name="Laurent Thiebaut (Nokia)" userId="5a0f83ef-4330-4e17-8828-eca8fc03b257" providerId="ADAL" clId="{5310EB25-F9B9-4A97-A366-9C3AA60D0180}" dt="2023-03-06T11:56:39.165" v="181" actId="27636"/>
          <ac:spMkLst>
            <pc:docMk/>
            <pc:sldMk cId="1468079078" sldId="2146847018"/>
            <ac:spMk id="4" creationId="{D4415F44-DA50-291E-741C-AE4E77343C20}"/>
          </ac:spMkLst>
        </pc:spChg>
      </pc:sldChg>
      <pc:sldChg chg="modSp add del mod">
        <pc:chgData name="Laurent Thiebaut (Nokia)" userId="5a0f83ef-4330-4e17-8828-eca8fc03b257" providerId="ADAL" clId="{5310EB25-F9B9-4A97-A366-9C3AA60D0180}" dt="2023-03-06T12:30:37.825" v="486" actId="47"/>
        <pc:sldMkLst>
          <pc:docMk/>
          <pc:sldMk cId="1810409412" sldId="2146847018"/>
        </pc:sldMkLst>
        <pc:spChg chg="mod">
          <ac:chgData name="Laurent Thiebaut (Nokia)" userId="5a0f83ef-4330-4e17-8828-eca8fc03b257" providerId="ADAL" clId="{5310EB25-F9B9-4A97-A366-9C3AA60D0180}" dt="2023-03-06T12:29:39.617" v="453" actId="27636"/>
          <ac:spMkLst>
            <pc:docMk/>
            <pc:sldMk cId="1810409412" sldId="2146847018"/>
            <ac:spMk id="4" creationId="{D4415F44-DA50-291E-741C-AE4E77343C20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48:12.593" v="637" actId="115"/>
        <pc:sldMkLst>
          <pc:docMk/>
          <pc:sldMk cId="1588995515" sldId="2146847019"/>
        </pc:sldMkLst>
        <pc:spChg chg="mod">
          <ac:chgData name="Laurent Thiebaut (Nokia)" userId="5a0f83ef-4330-4e17-8828-eca8fc03b257" providerId="ADAL" clId="{5310EB25-F9B9-4A97-A366-9C3AA60D0180}" dt="2023-03-06T12:17:46.491" v="360" actId="1076"/>
          <ac:spMkLst>
            <pc:docMk/>
            <pc:sldMk cId="1588995515" sldId="2146847019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2:48:12.593" v="637" actId="115"/>
          <ac:spMkLst>
            <pc:docMk/>
            <pc:sldMk cId="1588995515" sldId="2146847019"/>
            <ac:spMk id="4" creationId="{CD72C33D-DF40-4601-AF02-8DFD5A6EA958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11:35.032" v="329" actId="27636"/>
        <pc:sldMkLst>
          <pc:docMk/>
          <pc:sldMk cId="4141059211" sldId="2146847020"/>
        </pc:sldMkLst>
        <pc:spChg chg="mod">
          <ac:chgData name="Laurent Thiebaut (Nokia)" userId="5a0f83ef-4330-4e17-8828-eca8fc03b257" providerId="ADAL" clId="{5310EB25-F9B9-4A97-A366-9C3AA60D0180}" dt="2023-03-06T12:10:46.595" v="308" actId="20577"/>
          <ac:spMkLst>
            <pc:docMk/>
            <pc:sldMk cId="4141059211" sldId="2146847020"/>
            <ac:spMk id="2" creationId="{2063E053-D2C1-4915-9D6C-720D19C0D43F}"/>
          </ac:spMkLst>
        </pc:spChg>
        <pc:spChg chg="mod">
          <ac:chgData name="Laurent Thiebaut (Nokia)" userId="5a0f83ef-4330-4e17-8828-eca8fc03b257" providerId="ADAL" clId="{5310EB25-F9B9-4A97-A366-9C3AA60D0180}" dt="2023-03-06T12:11:35.032" v="329" actId="27636"/>
          <ac:spMkLst>
            <pc:docMk/>
            <pc:sldMk cId="4141059211" sldId="2146847020"/>
            <ac:spMk id="4" creationId="{396B0782-F18E-4E98-A575-F131B46B01E3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12:42.798" v="338" actId="20577"/>
        <pc:sldMkLst>
          <pc:docMk/>
          <pc:sldMk cId="81979083" sldId="2146847021"/>
        </pc:sldMkLst>
        <pc:spChg chg="mod">
          <ac:chgData name="Laurent Thiebaut (Nokia)" userId="5a0f83ef-4330-4e17-8828-eca8fc03b257" providerId="ADAL" clId="{5310EB25-F9B9-4A97-A366-9C3AA60D0180}" dt="2023-03-06T12:11:48.400" v="332" actId="20577"/>
          <ac:spMkLst>
            <pc:docMk/>
            <pc:sldMk cId="81979083" sldId="2146847021"/>
            <ac:spMk id="2" creationId="{D6A67C87-13F9-4F12-89B0-9990365FA63B}"/>
          </ac:spMkLst>
        </pc:spChg>
        <pc:spChg chg="mod">
          <ac:chgData name="Laurent Thiebaut (Nokia)" userId="5a0f83ef-4330-4e17-8828-eca8fc03b257" providerId="ADAL" clId="{5310EB25-F9B9-4A97-A366-9C3AA60D0180}" dt="2023-03-06T12:12:42.798" v="338" actId="20577"/>
          <ac:spMkLst>
            <pc:docMk/>
            <pc:sldMk cId="81979083" sldId="2146847021"/>
            <ac:spMk id="3" creationId="{998B2F56-821D-4930-A5A0-ABA1B93701EE}"/>
          </ac:spMkLst>
        </pc:spChg>
        <pc:spChg chg="mod">
          <ac:chgData name="Laurent Thiebaut (Nokia)" userId="5a0f83ef-4330-4e17-8828-eca8fc03b257" providerId="ADAL" clId="{5310EB25-F9B9-4A97-A366-9C3AA60D0180}" dt="2023-03-06T12:12:12.863" v="334" actId="2711"/>
          <ac:spMkLst>
            <pc:docMk/>
            <pc:sldMk cId="81979083" sldId="2146847021"/>
            <ac:spMk id="4" creationId="{0EC08496-7DA9-4932-801E-4955BD0660B2}"/>
          </ac:spMkLst>
        </pc:spChg>
      </pc:sldChg>
      <pc:sldChg chg="addSp modSp mod">
        <pc:chgData name="Laurent Thiebaut (Nokia)" userId="5a0f83ef-4330-4e17-8828-eca8fc03b257" providerId="ADAL" clId="{5310EB25-F9B9-4A97-A366-9C3AA60D0180}" dt="2023-03-06T12:12:52.760" v="339" actId="108"/>
        <pc:sldMkLst>
          <pc:docMk/>
          <pc:sldMk cId="4001887586" sldId="2146847022"/>
        </pc:sldMkLst>
        <pc:spChg chg="mod">
          <ac:chgData name="Laurent Thiebaut (Nokia)" userId="5a0f83ef-4330-4e17-8828-eca8fc03b257" providerId="ADAL" clId="{5310EB25-F9B9-4A97-A366-9C3AA60D0180}" dt="2023-03-06T12:12:52.760" v="339" actId="108"/>
          <ac:spMkLst>
            <pc:docMk/>
            <pc:sldMk cId="4001887586" sldId="2146847022"/>
            <ac:spMk id="3" creationId="{F97EE640-594A-44AD-B297-4CCA07D6EA06}"/>
          </ac:spMkLst>
        </pc:spChg>
        <pc:spChg chg="add mod">
          <ac:chgData name="Laurent Thiebaut (Nokia)" userId="5a0f83ef-4330-4e17-8828-eca8fc03b257" providerId="ADAL" clId="{5310EB25-F9B9-4A97-A366-9C3AA60D0180}" dt="2023-03-06T12:12:34.843" v="337"/>
          <ac:spMkLst>
            <pc:docMk/>
            <pc:sldMk cId="4001887586" sldId="2146847022"/>
            <ac:spMk id="7" creationId="{A6691ACD-6634-4EF6-8F57-C486E74A80DA}"/>
          </ac:spMkLst>
        </pc:spChg>
        <pc:graphicFrameChg chg="mod">
          <ac:chgData name="Laurent Thiebaut (Nokia)" userId="5a0f83ef-4330-4e17-8828-eca8fc03b257" providerId="ADAL" clId="{5310EB25-F9B9-4A97-A366-9C3AA60D0180}" dt="2023-03-06T12:12:21.480" v="335" actId="1076"/>
          <ac:graphicFrameMkLst>
            <pc:docMk/>
            <pc:sldMk cId="4001887586" sldId="2146847022"/>
            <ac:graphicFrameMk id="6" creationId="{8C526884-7B66-47CB-B92F-FFEF3A2F78B6}"/>
          </ac:graphicFrameMkLst>
        </pc:graphicFrameChg>
      </pc:sldChg>
      <pc:sldChg chg="modSp mod">
        <pc:chgData name="Laurent Thiebaut (Nokia)" userId="5a0f83ef-4330-4e17-8828-eca8fc03b257" providerId="ADAL" clId="{5310EB25-F9B9-4A97-A366-9C3AA60D0180}" dt="2023-03-06T12:13:25.060" v="347" actId="20577"/>
        <pc:sldMkLst>
          <pc:docMk/>
          <pc:sldMk cId="3747344476" sldId="2146847023"/>
        </pc:sldMkLst>
        <pc:spChg chg="mod">
          <ac:chgData name="Laurent Thiebaut (Nokia)" userId="5a0f83ef-4330-4e17-8828-eca8fc03b257" providerId="ADAL" clId="{5310EB25-F9B9-4A97-A366-9C3AA60D0180}" dt="2023-03-06T12:13:04.093" v="341"/>
          <ac:spMkLst>
            <pc:docMk/>
            <pc:sldMk cId="3747344476" sldId="2146847023"/>
            <ac:spMk id="2" creationId="{938CDA37-C8EC-4B44-8318-01D34D271783}"/>
          </ac:spMkLst>
        </pc:spChg>
        <pc:spChg chg="mod">
          <ac:chgData name="Laurent Thiebaut (Nokia)" userId="5a0f83ef-4330-4e17-8828-eca8fc03b257" providerId="ADAL" clId="{5310EB25-F9B9-4A97-A366-9C3AA60D0180}" dt="2023-03-06T12:13:01.427" v="340" actId="21"/>
          <ac:spMkLst>
            <pc:docMk/>
            <pc:sldMk cId="3747344476" sldId="2146847023"/>
            <ac:spMk id="3" creationId="{9CEC406E-BB35-4ABA-B81C-6A4EA776C082}"/>
          </ac:spMkLst>
        </pc:spChg>
        <pc:spChg chg="mod">
          <ac:chgData name="Laurent Thiebaut (Nokia)" userId="5a0f83ef-4330-4e17-8828-eca8fc03b257" providerId="ADAL" clId="{5310EB25-F9B9-4A97-A366-9C3AA60D0180}" dt="2023-03-06T12:13:25.060" v="347" actId="20577"/>
          <ac:spMkLst>
            <pc:docMk/>
            <pc:sldMk cId="3747344476" sldId="2146847023"/>
            <ac:spMk id="4" creationId="{165A61F3-D648-417D-A333-B56885FB6D2B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13:54.362" v="353" actId="2711"/>
        <pc:sldMkLst>
          <pc:docMk/>
          <pc:sldMk cId="1325044518" sldId="2146847024"/>
        </pc:sldMkLst>
        <pc:spChg chg="mod">
          <ac:chgData name="Laurent Thiebaut (Nokia)" userId="5a0f83ef-4330-4e17-8828-eca8fc03b257" providerId="ADAL" clId="{5310EB25-F9B9-4A97-A366-9C3AA60D0180}" dt="2023-03-06T12:13:36.805" v="350" actId="20577"/>
          <ac:spMkLst>
            <pc:docMk/>
            <pc:sldMk cId="1325044518" sldId="2146847024"/>
            <ac:spMk id="2" creationId="{ED051FDA-A5AC-476C-99DE-14DA3181055B}"/>
          </ac:spMkLst>
        </pc:spChg>
        <pc:spChg chg="mod">
          <ac:chgData name="Laurent Thiebaut (Nokia)" userId="5a0f83ef-4330-4e17-8828-eca8fc03b257" providerId="ADAL" clId="{5310EB25-F9B9-4A97-A366-9C3AA60D0180}" dt="2023-03-06T12:13:32.712" v="348" actId="21"/>
          <ac:spMkLst>
            <pc:docMk/>
            <pc:sldMk cId="1325044518" sldId="2146847024"/>
            <ac:spMk id="3" creationId="{5BF70F77-0F22-4212-90BD-94DB2DC91FFB}"/>
          </ac:spMkLst>
        </pc:spChg>
        <pc:spChg chg="mod">
          <ac:chgData name="Laurent Thiebaut (Nokia)" userId="5a0f83ef-4330-4e17-8828-eca8fc03b257" providerId="ADAL" clId="{5310EB25-F9B9-4A97-A366-9C3AA60D0180}" dt="2023-03-06T12:13:54.362" v="353" actId="2711"/>
          <ac:spMkLst>
            <pc:docMk/>
            <pc:sldMk cId="1325044518" sldId="2146847024"/>
            <ac:spMk id="4" creationId="{B3052676-9598-4F9F-B787-1FA1648A54B2}"/>
          </ac:spMkLst>
        </pc:spChg>
      </pc:sldChg>
      <pc:sldChg chg="modSp mod">
        <pc:chgData name="Laurent Thiebaut (Nokia)" userId="5a0f83ef-4330-4e17-8828-eca8fc03b257" providerId="ADAL" clId="{5310EB25-F9B9-4A97-A366-9C3AA60D0180}" dt="2023-03-06T12:16:20.428" v="359" actId="2711"/>
        <pc:sldMkLst>
          <pc:docMk/>
          <pc:sldMk cId="219433634" sldId="2146847026"/>
        </pc:sldMkLst>
        <pc:spChg chg="mod">
          <ac:chgData name="Laurent Thiebaut (Nokia)" userId="5a0f83ef-4330-4e17-8828-eca8fc03b257" providerId="ADAL" clId="{5310EB25-F9B9-4A97-A366-9C3AA60D0180}" dt="2023-03-06T12:16:20.428" v="359" actId="2711"/>
          <ac:spMkLst>
            <pc:docMk/>
            <pc:sldMk cId="219433634" sldId="2146847026"/>
            <ac:spMk id="4" creationId="{EC84B38C-A66F-4038-B858-727AE3E3D27E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05:38.333" v="261" actId="2711"/>
        <pc:sldMkLst>
          <pc:docMk/>
          <pc:sldMk cId="1766937778" sldId="2146847028"/>
        </pc:sldMkLst>
        <pc:spChg chg="mod">
          <ac:chgData name="Laurent Thiebaut (Nokia)" userId="5a0f83ef-4330-4e17-8828-eca8fc03b257" providerId="ADAL" clId="{5310EB25-F9B9-4A97-A366-9C3AA60D0180}" dt="2023-03-06T12:04:55.934" v="256" actId="20577"/>
          <ac:spMkLst>
            <pc:docMk/>
            <pc:sldMk cId="1766937778" sldId="2146847028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2:04:52.319" v="255" actId="6549"/>
          <ac:spMkLst>
            <pc:docMk/>
            <pc:sldMk cId="1766937778" sldId="2146847028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2:05:38.333" v="261" actId="2711"/>
          <ac:spMkLst>
            <pc:docMk/>
            <pc:sldMk cId="1766937778" sldId="2146847028"/>
            <ac:spMk id="4" creationId="{CD72C33D-DF40-4601-AF02-8DFD5A6EA958}"/>
          </ac:spMkLst>
        </pc:spChg>
      </pc:sldChg>
      <pc:sldChg chg="modSp add mod ord">
        <pc:chgData name="Laurent Thiebaut (Nokia)" userId="5a0f83ef-4330-4e17-8828-eca8fc03b257" providerId="ADAL" clId="{5310EB25-F9B9-4A97-A366-9C3AA60D0180}" dt="2023-03-06T12:04:11.793" v="250" actId="403"/>
        <pc:sldMkLst>
          <pc:docMk/>
          <pc:sldMk cId="3894455202" sldId="2146847029"/>
        </pc:sldMkLst>
        <pc:spChg chg="mod">
          <ac:chgData name="Laurent Thiebaut (Nokia)" userId="5a0f83ef-4330-4e17-8828-eca8fc03b257" providerId="ADAL" clId="{5310EB25-F9B9-4A97-A366-9C3AA60D0180}" dt="2023-03-06T12:03:40.572" v="247" actId="108"/>
          <ac:spMkLst>
            <pc:docMk/>
            <pc:sldMk cId="3894455202" sldId="2146847029"/>
            <ac:spMk id="2" creationId="{F55F6DD9-9F73-4475-B4C0-0BD35C69E49D}"/>
          </ac:spMkLst>
        </pc:spChg>
        <pc:spChg chg="mod">
          <ac:chgData name="Laurent Thiebaut (Nokia)" userId="5a0f83ef-4330-4e17-8828-eca8fc03b257" providerId="ADAL" clId="{5310EB25-F9B9-4A97-A366-9C3AA60D0180}" dt="2023-03-06T12:01:36.039" v="213" actId="20577"/>
          <ac:spMkLst>
            <pc:docMk/>
            <pc:sldMk cId="3894455202" sldId="2146847029"/>
            <ac:spMk id="3" creationId="{506A8607-C5AE-48A7-9AC8-7B6F426DD14D}"/>
          </ac:spMkLst>
        </pc:spChg>
        <pc:spChg chg="mod">
          <ac:chgData name="Laurent Thiebaut (Nokia)" userId="5a0f83ef-4330-4e17-8828-eca8fc03b257" providerId="ADAL" clId="{5310EB25-F9B9-4A97-A366-9C3AA60D0180}" dt="2023-03-06T12:04:11.793" v="250" actId="403"/>
          <ac:spMkLst>
            <pc:docMk/>
            <pc:sldMk cId="3894455202" sldId="2146847029"/>
            <ac:spMk id="4" creationId="{CD72C33D-DF40-4601-AF02-8DFD5A6EA958}"/>
          </ac:spMkLst>
        </pc:spChg>
      </pc:sldChg>
      <pc:sldChg chg="modSp add del mod">
        <pc:chgData name="Laurent Thiebaut (Nokia)" userId="5a0f83ef-4330-4e17-8828-eca8fc03b257" providerId="ADAL" clId="{5310EB25-F9B9-4A97-A366-9C3AA60D0180}" dt="2023-03-06T12:48:38.058" v="642" actId="47"/>
        <pc:sldMkLst>
          <pc:docMk/>
          <pc:sldMk cId="2472986137" sldId="2146847030"/>
        </pc:sldMkLst>
        <pc:spChg chg="mod">
          <ac:chgData name="Laurent Thiebaut (Nokia)" userId="5a0f83ef-4330-4e17-8828-eca8fc03b257" providerId="ADAL" clId="{5310EB25-F9B9-4A97-A366-9C3AA60D0180}" dt="2023-03-06T12:47:57.401" v="634" actId="21"/>
          <ac:spMkLst>
            <pc:docMk/>
            <pc:sldMk cId="2472986137" sldId="2146847030"/>
            <ac:spMk id="4" creationId="{CD72C33D-DF40-4601-AF02-8DFD5A6EA958}"/>
          </ac:spMkLst>
        </pc:spChg>
      </pc:sldChg>
      <pc:sldChg chg="modSp add del mod ord">
        <pc:chgData name="Laurent Thiebaut (Nokia)" userId="5a0f83ef-4330-4e17-8828-eca8fc03b257" providerId="ADAL" clId="{5310EB25-F9B9-4A97-A366-9C3AA60D0180}" dt="2023-03-06T12:24:10.471" v="404" actId="2696"/>
        <pc:sldMkLst>
          <pc:docMk/>
          <pc:sldMk cId="1656831394" sldId="2146847031"/>
        </pc:sldMkLst>
        <pc:spChg chg="mod">
          <ac:chgData name="Laurent Thiebaut (Nokia)" userId="5a0f83ef-4330-4e17-8828-eca8fc03b257" providerId="ADAL" clId="{5310EB25-F9B9-4A97-A366-9C3AA60D0180}" dt="2023-03-06T12:23:57.043" v="403" actId="20577"/>
          <ac:spMkLst>
            <pc:docMk/>
            <pc:sldMk cId="1656831394" sldId="2146847031"/>
            <ac:spMk id="4" creationId="{B91515A7-343D-47E8-82B8-D58ED83CD3B1}"/>
          </ac:spMkLst>
        </pc:spChg>
      </pc:sldChg>
      <pc:sldChg chg="add">
        <pc:chgData name="Laurent Thiebaut (Nokia)" userId="5a0f83ef-4330-4e17-8828-eca8fc03b257" providerId="ADAL" clId="{5310EB25-F9B9-4A97-A366-9C3AA60D0180}" dt="2023-03-06T12:24:20.847" v="405"/>
        <pc:sldMkLst>
          <pc:docMk/>
          <pc:sldMk cId="3470214857" sldId="2146847031"/>
        </pc:sldMkLst>
      </pc:sldChg>
      <pc:sldChg chg="modSp add mod ord">
        <pc:chgData name="Laurent Thiebaut (Nokia)" userId="5a0f83ef-4330-4e17-8828-eca8fc03b257" providerId="ADAL" clId="{5310EB25-F9B9-4A97-A366-9C3AA60D0180}" dt="2023-03-06T12:26:55.840" v="427"/>
        <pc:sldMkLst>
          <pc:docMk/>
          <pc:sldMk cId="4004758856" sldId="2146847032"/>
        </pc:sldMkLst>
        <pc:spChg chg="mod">
          <ac:chgData name="Laurent Thiebaut (Nokia)" userId="5a0f83ef-4330-4e17-8828-eca8fc03b257" providerId="ADAL" clId="{5310EB25-F9B9-4A97-A366-9C3AA60D0180}" dt="2023-03-06T12:26:52.974" v="425" actId="27636"/>
          <ac:spMkLst>
            <pc:docMk/>
            <pc:sldMk cId="4004758856" sldId="2146847032"/>
            <ac:spMk id="4" creationId="{FD9B9349-5219-4A4E-8125-7E6F849D4C07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30:29.729" v="485" actId="20577"/>
        <pc:sldMkLst>
          <pc:docMk/>
          <pc:sldMk cId="32579984" sldId="2146847033"/>
        </pc:sldMkLst>
        <pc:spChg chg="mod">
          <ac:chgData name="Laurent Thiebaut (Nokia)" userId="5a0f83ef-4330-4e17-8828-eca8fc03b257" providerId="ADAL" clId="{5310EB25-F9B9-4A97-A366-9C3AA60D0180}" dt="2023-03-06T12:30:29.729" v="485" actId="20577"/>
          <ac:spMkLst>
            <pc:docMk/>
            <pc:sldMk cId="32579984" sldId="2146847033"/>
            <ac:spMk id="4" creationId="{FD9B9349-5219-4A4E-8125-7E6F849D4C07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31:06.572" v="493" actId="1076"/>
        <pc:sldMkLst>
          <pc:docMk/>
          <pc:sldMk cId="4203897482" sldId="2146847034"/>
        </pc:sldMkLst>
        <pc:spChg chg="mod">
          <ac:chgData name="Laurent Thiebaut (Nokia)" userId="5a0f83ef-4330-4e17-8828-eca8fc03b257" providerId="ADAL" clId="{5310EB25-F9B9-4A97-A366-9C3AA60D0180}" dt="2023-03-06T12:31:06.572" v="493" actId="1076"/>
          <ac:spMkLst>
            <pc:docMk/>
            <pc:sldMk cId="4203897482" sldId="2146847034"/>
            <ac:spMk id="4" creationId="{FD9B9349-5219-4A4E-8125-7E6F849D4C07}"/>
          </ac:spMkLst>
        </pc:spChg>
      </pc:sldChg>
      <pc:sldChg chg="modSp add mod">
        <pc:chgData name="Laurent Thiebaut (Nokia)" userId="5a0f83ef-4330-4e17-8828-eca8fc03b257" providerId="ADAL" clId="{5310EB25-F9B9-4A97-A366-9C3AA60D0180}" dt="2023-03-06T12:45:36.921" v="621" actId="20577"/>
        <pc:sldMkLst>
          <pc:docMk/>
          <pc:sldMk cId="3693536793" sldId="2146847035"/>
        </pc:sldMkLst>
        <pc:spChg chg="mod">
          <ac:chgData name="Laurent Thiebaut (Nokia)" userId="5a0f83ef-4330-4e17-8828-eca8fc03b257" providerId="ADAL" clId="{5310EB25-F9B9-4A97-A366-9C3AA60D0180}" dt="2023-03-06T12:45:36.921" v="621" actId="20577"/>
          <ac:spMkLst>
            <pc:docMk/>
            <pc:sldMk cId="3693536793" sldId="2146847035"/>
            <ac:spMk id="4" creationId="{CD72C33D-DF40-4601-AF02-8DFD5A6EA958}"/>
          </ac:spMkLst>
        </pc:spChg>
      </pc:sldChg>
      <pc:sldChg chg="modSp add mod ord">
        <pc:chgData name="Laurent Thiebaut (Nokia)" userId="5a0f83ef-4330-4e17-8828-eca8fc03b257" providerId="ADAL" clId="{5310EB25-F9B9-4A97-A366-9C3AA60D0180}" dt="2023-03-06T12:49:31.772" v="697" actId="6549"/>
        <pc:sldMkLst>
          <pc:docMk/>
          <pc:sldMk cId="1056770660" sldId="2146847036"/>
        </pc:sldMkLst>
        <pc:spChg chg="mod">
          <ac:chgData name="Laurent Thiebaut (Nokia)" userId="5a0f83ef-4330-4e17-8828-eca8fc03b257" providerId="ADAL" clId="{5310EB25-F9B9-4A97-A366-9C3AA60D0180}" dt="2023-03-06T12:49:31.772" v="697" actId="6549"/>
          <ac:spMkLst>
            <pc:docMk/>
            <pc:sldMk cId="1056770660" sldId="2146847036"/>
            <ac:spMk id="4" creationId="{CD72C33D-DF40-4601-AF02-8DFD5A6EA958}"/>
          </ac:spMkLst>
        </pc:spChg>
      </pc:sldChg>
      <pc:sldChg chg="addSp delSp modSp add mod">
        <pc:chgData name="Laurent Thiebaut (Nokia)" userId="5a0f83ef-4330-4e17-8828-eca8fc03b257" providerId="ADAL" clId="{5310EB25-F9B9-4A97-A366-9C3AA60D0180}" dt="2023-03-06T13:14:55.194" v="1066" actId="1076"/>
        <pc:sldMkLst>
          <pc:docMk/>
          <pc:sldMk cId="2347461328" sldId="2146847037"/>
        </pc:sldMkLst>
        <pc:spChg chg="mod">
          <ac:chgData name="Laurent Thiebaut (Nokia)" userId="5a0f83ef-4330-4e17-8828-eca8fc03b257" providerId="ADAL" clId="{5310EB25-F9B9-4A97-A366-9C3AA60D0180}" dt="2023-03-06T13:02:03.004" v="1004" actId="27636"/>
          <ac:spMkLst>
            <pc:docMk/>
            <pc:sldMk cId="2347461328" sldId="2146847037"/>
            <ac:spMk id="4" creationId="{CD72C33D-DF40-4601-AF02-8DFD5A6EA958}"/>
          </ac:spMkLst>
        </pc:spChg>
        <pc:spChg chg="add mod">
          <ac:chgData name="Laurent Thiebaut (Nokia)" userId="5a0f83ef-4330-4e17-8828-eca8fc03b257" providerId="ADAL" clId="{5310EB25-F9B9-4A97-A366-9C3AA60D0180}" dt="2023-03-06T12:57:24.382" v="860" actId="1076"/>
          <ac:spMkLst>
            <pc:docMk/>
            <pc:sldMk cId="2347461328" sldId="2146847037"/>
            <ac:spMk id="5" creationId="{344725B4-DA0A-4B86-A4F2-23ADC3F30502}"/>
          </ac:spMkLst>
        </pc:spChg>
        <pc:spChg chg="add mod">
          <ac:chgData name="Laurent Thiebaut (Nokia)" userId="5a0f83ef-4330-4e17-8828-eca8fc03b257" providerId="ADAL" clId="{5310EB25-F9B9-4A97-A366-9C3AA60D0180}" dt="2023-03-06T12:57:24.382" v="860" actId="1076"/>
          <ac:spMkLst>
            <pc:docMk/>
            <pc:sldMk cId="2347461328" sldId="2146847037"/>
            <ac:spMk id="6" creationId="{5AD10607-B484-4BFB-9F9E-4FCC5E8FF209}"/>
          </ac:spMkLst>
        </pc:spChg>
        <pc:spChg chg="add mod">
          <ac:chgData name="Laurent Thiebaut (Nokia)" userId="5a0f83ef-4330-4e17-8828-eca8fc03b257" providerId="ADAL" clId="{5310EB25-F9B9-4A97-A366-9C3AA60D0180}" dt="2023-03-06T13:14:55.194" v="1066" actId="1076"/>
          <ac:spMkLst>
            <pc:docMk/>
            <pc:sldMk cId="2347461328" sldId="2146847037"/>
            <ac:spMk id="7" creationId="{4AD83A3D-D5E3-4DCC-B6D4-4743BC073E4B}"/>
          </ac:spMkLst>
        </pc:spChg>
        <pc:spChg chg="add mod">
          <ac:chgData name="Laurent Thiebaut (Nokia)" userId="5a0f83ef-4330-4e17-8828-eca8fc03b257" providerId="ADAL" clId="{5310EB25-F9B9-4A97-A366-9C3AA60D0180}" dt="2023-03-06T12:57:24.382" v="860" actId="1076"/>
          <ac:spMkLst>
            <pc:docMk/>
            <pc:sldMk cId="2347461328" sldId="2146847037"/>
            <ac:spMk id="8" creationId="{040DA980-EBE7-4A9B-B524-50818E845235}"/>
          </ac:spMkLst>
        </pc:spChg>
        <pc:spChg chg="add del mod">
          <ac:chgData name="Laurent Thiebaut (Nokia)" userId="5a0f83ef-4330-4e17-8828-eca8fc03b257" providerId="ADAL" clId="{5310EB25-F9B9-4A97-A366-9C3AA60D0180}" dt="2023-03-06T12:57:24.382" v="860" actId="1076"/>
          <ac:spMkLst>
            <pc:docMk/>
            <pc:sldMk cId="2347461328" sldId="2146847037"/>
            <ac:spMk id="16" creationId="{929119EF-EAF7-4459-A6CF-AF8392FD27A6}"/>
          </ac:spMkLst>
        </pc:spChg>
        <pc:spChg chg="add mod">
          <ac:chgData name="Laurent Thiebaut (Nokia)" userId="5a0f83ef-4330-4e17-8828-eca8fc03b257" providerId="ADAL" clId="{5310EB25-F9B9-4A97-A366-9C3AA60D0180}" dt="2023-03-06T12:57:24.382" v="860" actId="1076"/>
          <ac:spMkLst>
            <pc:docMk/>
            <pc:sldMk cId="2347461328" sldId="2146847037"/>
            <ac:spMk id="17" creationId="{AC8F9A5C-B432-4C77-A594-ACD9B4502036}"/>
          </ac:spMkLst>
        </pc:spChg>
        <pc:spChg chg="add mod">
          <ac:chgData name="Laurent Thiebaut (Nokia)" userId="5a0f83ef-4330-4e17-8828-eca8fc03b257" providerId="ADAL" clId="{5310EB25-F9B9-4A97-A366-9C3AA60D0180}" dt="2023-03-06T13:01:04.440" v="965" actId="208"/>
          <ac:spMkLst>
            <pc:docMk/>
            <pc:sldMk cId="2347461328" sldId="2146847037"/>
            <ac:spMk id="21" creationId="{E20B7512-A5DF-481E-8EED-7CD743624129}"/>
          </ac:spMkLst>
        </pc:spChg>
        <pc:spChg chg="add mod">
          <ac:chgData name="Laurent Thiebaut (Nokia)" userId="5a0f83ef-4330-4e17-8828-eca8fc03b257" providerId="ADAL" clId="{5310EB25-F9B9-4A97-A366-9C3AA60D0180}" dt="2023-03-06T13:01:17.877" v="968" actId="208"/>
          <ac:spMkLst>
            <pc:docMk/>
            <pc:sldMk cId="2347461328" sldId="2146847037"/>
            <ac:spMk id="22" creationId="{06EC32F0-73D9-4650-81E5-1D9E83C82284}"/>
          </ac:spMkLst>
        </pc:spChg>
        <pc:spChg chg="add mod">
          <ac:chgData name="Laurent Thiebaut (Nokia)" userId="5a0f83ef-4330-4e17-8828-eca8fc03b257" providerId="ADAL" clId="{5310EB25-F9B9-4A97-A366-9C3AA60D0180}" dt="2023-03-06T13:01:50.322" v="1001" actId="1076"/>
          <ac:spMkLst>
            <pc:docMk/>
            <pc:sldMk cId="2347461328" sldId="2146847037"/>
            <ac:spMk id="23" creationId="{DF01CB76-54E5-4D42-A61C-1BFBA69366B5}"/>
          </ac:spMkLst>
        </pc:spChg>
        <pc:cxnChg chg="add mod">
          <ac:chgData name="Laurent Thiebaut (Nokia)" userId="5a0f83ef-4330-4e17-8828-eca8fc03b257" providerId="ADAL" clId="{5310EB25-F9B9-4A97-A366-9C3AA60D0180}" dt="2023-03-06T12:57:24.382" v="860" actId="1076"/>
          <ac:cxnSpMkLst>
            <pc:docMk/>
            <pc:sldMk cId="2347461328" sldId="2146847037"/>
            <ac:cxnSpMk id="10" creationId="{E928555F-4051-43FA-ACDC-3D95537B26C7}"/>
          </ac:cxnSpMkLst>
        </pc:cxnChg>
        <pc:cxnChg chg="add mod">
          <ac:chgData name="Laurent Thiebaut (Nokia)" userId="5a0f83ef-4330-4e17-8828-eca8fc03b257" providerId="ADAL" clId="{5310EB25-F9B9-4A97-A366-9C3AA60D0180}" dt="2023-03-06T13:14:55.194" v="1066" actId="1076"/>
          <ac:cxnSpMkLst>
            <pc:docMk/>
            <pc:sldMk cId="2347461328" sldId="2146847037"/>
            <ac:cxnSpMk id="11" creationId="{43C92B70-F163-469C-ABB5-EBE2BE42BB36}"/>
          </ac:cxnSpMkLst>
        </pc:cxnChg>
        <pc:cxnChg chg="add mod">
          <ac:chgData name="Laurent Thiebaut (Nokia)" userId="5a0f83ef-4330-4e17-8828-eca8fc03b257" providerId="ADAL" clId="{5310EB25-F9B9-4A97-A366-9C3AA60D0180}" dt="2023-03-06T12:57:24.382" v="860" actId="1076"/>
          <ac:cxnSpMkLst>
            <pc:docMk/>
            <pc:sldMk cId="2347461328" sldId="2146847037"/>
            <ac:cxnSpMk id="13" creationId="{01C6DD6F-1C7C-47C8-983B-156F5938B910}"/>
          </ac:cxnSpMkLst>
        </pc:cxnChg>
        <pc:cxnChg chg="add mod">
          <ac:chgData name="Laurent Thiebaut (Nokia)" userId="5a0f83ef-4330-4e17-8828-eca8fc03b257" providerId="ADAL" clId="{5310EB25-F9B9-4A97-A366-9C3AA60D0180}" dt="2023-03-06T12:57:24.382" v="860" actId="1076"/>
          <ac:cxnSpMkLst>
            <pc:docMk/>
            <pc:sldMk cId="2347461328" sldId="2146847037"/>
            <ac:cxnSpMk id="15" creationId="{0B3D2619-AD3E-4EFC-97B3-B905F9984462}"/>
          </ac:cxnSpMkLst>
        </pc:cxnChg>
        <pc:cxnChg chg="add mod">
          <ac:chgData name="Laurent Thiebaut (Nokia)" userId="5a0f83ef-4330-4e17-8828-eca8fc03b257" providerId="ADAL" clId="{5310EB25-F9B9-4A97-A366-9C3AA60D0180}" dt="2023-03-06T12:59:49.931" v="961" actId="692"/>
          <ac:cxnSpMkLst>
            <pc:docMk/>
            <pc:sldMk cId="2347461328" sldId="2146847037"/>
            <ac:cxnSpMk id="19" creationId="{E6756737-2F73-40DD-9BA5-C997C9A8B34A}"/>
          </ac:cxnSpMkLst>
        </pc:cxnChg>
      </pc:sldChg>
      <pc:sldChg chg="addSp modSp add mod">
        <pc:chgData name="Laurent Thiebaut (Nokia)" userId="5a0f83ef-4330-4e17-8828-eca8fc03b257" providerId="ADAL" clId="{5310EB25-F9B9-4A97-A366-9C3AA60D0180}" dt="2023-03-06T13:18:26.900" v="1156" actId="207"/>
        <pc:sldMkLst>
          <pc:docMk/>
          <pc:sldMk cId="2905794752" sldId="2146847038"/>
        </pc:sldMkLst>
        <pc:spChg chg="mod">
          <ac:chgData name="Laurent Thiebaut (Nokia)" userId="5a0f83ef-4330-4e17-8828-eca8fc03b257" providerId="ADAL" clId="{5310EB25-F9B9-4A97-A366-9C3AA60D0180}" dt="2023-03-06T13:18:26.900" v="1156" actId="207"/>
          <ac:spMkLst>
            <pc:docMk/>
            <pc:sldMk cId="2905794752" sldId="2146847038"/>
            <ac:spMk id="4" creationId="{CD72C33D-DF40-4601-AF02-8DFD5A6EA958}"/>
          </ac:spMkLst>
        </pc:spChg>
        <pc:spChg chg="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5" creationId="{344725B4-DA0A-4B86-A4F2-23ADC3F30502}"/>
          </ac:spMkLst>
        </pc:spChg>
        <pc:spChg chg="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6" creationId="{5AD10607-B484-4BFB-9F9E-4FCC5E8FF209}"/>
          </ac:spMkLst>
        </pc:spChg>
        <pc:spChg chg="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7" creationId="{4AD83A3D-D5E3-4DCC-B6D4-4743BC073E4B}"/>
          </ac:spMkLst>
        </pc:spChg>
        <pc:spChg chg="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8" creationId="{040DA980-EBE7-4A9B-B524-50818E845235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9" creationId="{8FB92D77-7FFD-495F-B304-F01A81FC3F06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12" creationId="{402FB70C-B4FA-459B-96FA-DEB380BE6D56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14" creationId="{8C6ACBC5-0981-4256-836F-A8B6E9C2C481}"/>
          </ac:spMkLst>
        </pc:spChg>
        <pc:spChg chg="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16" creationId="{929119EF-EAF7-4459-A6CF-AF8392FD27A6}"/>
          </ac:spMkLst>
        </pc:spChg>
        <pc:spChg chg="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17" creationId="{AC8F9A5C-B432-4C77-A594-ACD9B4502036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18" creationId="{69431A58-E54E-4F6A-BDE2-175553272FF6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20" creationId="{0C33E8CB-7958-417A-8873-825469DD7740}"/>
          </ac:spMkLst>
        </pc:spChg>
        <pc:spChg chg="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21" creationId="{E20B7512-A5DF-481E-8EED-7CD743624129}"/>
          </ac:spMkLst>
        </pc:spChg>
        <pc:spChg chg="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22" creationId="{06EC32F0-73D9-4650-81E5-1D9E83C82284}"/>
          </ac:spMkLst>
        </pc:spChg>
        <pc:spChg chg="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23" creationId="{DF01CB76-54E5-4D42-A61C-1BFBA69366B5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24" creationId="{70F6979C-5254-472D-B410-A68894F9ECB1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25" creationId="{AF0A2AB4-8A3D-4DEB-BE59-3B71EFC7E641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26" creationId="{992073B1-6418-4D29-A778-118F649F3316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27" creationId="{87863E3E-FD01-4729-A998-D593916A599C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28" creationId="{EA7A452A-58BE-46B5-9535-0709BF920D24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29" creationId="{A768504D-B4F1-4753-B1D0-EB3CDBFBA038}"/>
          </ac:spMkLst>
        </pc:spChg>
        <pc:spChg chg="add mod">
          <ac:chgData name="Laurent Thiebaut (Nokia)" userId="5a0f83ef-4330-4e17-8828-eca8fc03b257" providerId="ADAL" clId="{5310EB25-F9B9-4A97-A366-9C3AA60D0180}" dt="2023-03-06T13:17:55.308" v="1099" actId="1076"/>
          <ac:spMkLst>
            <pc:docMk/>
            <pc:sldMk cId="2905794752" sldId="2146847038"/>
            <ac:spMk id="30" creationId="{4AFA4A38-9D34-4FBF-8F41-C26B874D1C4F}"/>
          </ac:spMkLst>
        </pc:spChg>
        <pc:cxnChg chg="mod">
          <ac:chgData name="Laurent Thiebaut (Nokia)" userId="5a0f83ef-4330-4e17-8828-eca8fc03b257" providerId="ADAL" clId="{5310EB25-F9B9-4A97-A366-9C3AA60D0180}" dt="2023-03-06T13:17:55.308" v="1099" actId="1076"/>
          <ac:cxnSpMkLst>
            <pc:docMk/>
            <pc:sldMk cId="2905794752" sldId="2146847038"/>
            <ac:cxnSpMk id="10" creationId="{E928555F-4051-43FA-ACDC-3D95537B26C7}"/>
          </ac:cxnSpMkLst>
        </pc:cxnChg>
        <pc:cxnChg chg="mod">
          <ac:chgData name="Laurent Thiebaut (Nokia)" userId="5a0f83ef-4330-4e17-8828-eca8fc03b257" providerId="ADAL" clId="{5310EB25-F9B9-4A97-A366-9C3AA60D0180}" dt="2023-03-06T13:17:55.308" v="1099" actId="1076"/>
          <ac:cxnSpMkLst>
            <pc:docMk/>
            <pc:sldMk cId="2905794752" sldId="2146847038"/>
            <ac:cxnSpMk id="11" creationId="{43C92B70-F163-469C-ABB5-EBE2BE42BB36}"/>
          </ac:cxnSpMkLst>
        </pc:cxnChg>
        <pc:cxnChg chg="mod">
          <ac:chgData name="Laurent Thiebaut (Nokia)" userId="5a0f83ef-4330-4e17-8828-eca8fc03b257" providerId="ADAL" clId="{5310EB25-F9B9-4A97-A366-9C3AA60D0180}" dt="2023-03-06T13:17:55.308" v="1099" actId="1076"/>
          <ac:cxnSpMkLst>
            <pc:docMk/>
            <pc:sldMk cId="2905794752" sldId="2146847038"/>
            <ac:cxnSpMk id="13" creationId="{01C6DD6F-1C7C-47C8-983B-156F5938B910}"/>
          </ac:cxnSpMkLst>
        </pc:cxnChg>
        <pc:cxnChg chg="mod">
          <ac:chgData name="Laurent Thiebaut (Nokia)" userId="5a0f83ef-4330-4e17-8828-eca8fc03b257" providerId="ADAL" clId="{5310EB25-F9B9-4A97-A366-9C3AA60D0180}" dt="2023-03-06T13:17:55.308" v="1099" actId="1076"/>
          <ac:cxnSpMkLst>
            <pc:docMk/>
            <pc:sldMk cId="2905794752" sldId="2146847038"/>
            <ac:cxnSpMk id="15" creationId="{0B3D2619-AD3E-4EFC-97B3-B905F9984462}"/>
          </ac:cxnSpMkLst>
        </pc:cxnChg>
        <pc:cxnChg chg="mod">
          <ac:chgData name="Laurent Thiebaut (Nokia)" userId="5a0f83ef-4330-4e17-8828-eca8fc03b257" providerId="ADAL" clId="{5310EB25-F9B9-4A97-A366-9C3AA60D0180}" dt="2023-03-06T13:17:55.308" v="1099" actId="1076"/>
          <ac:cxnSpMkLst>
            <pc:docMk/>
            <pc:sldMk cId="2905794752" sldId="2146847038"/>
            <ac:cxnSpMk id="19" creationId="{E6756737-2F73-40DD-9BA5-C997C9A8B34A}"/>
          </ac:cxnSpMkLst>
        </pc:cxnChg>
      </pc:sldChg>
      <pc:sldMasterChg chg="delSldLayout">
        <pc:chgData name="Laurent Thiebaut (Nokia)" userId="5a0f83ef-4330-4e17-8828-eca8fc03b257" providerId="ADAL" clId="{5310EB25-F9B9-4A97-A366-9C3AA60D0180}" dt="2023-03-05T19:55:14.894" v="0" actId="2696"/>
        <pc:sldMasterMkLst>
          <pc:docMk/>
          <pc:sldMasterMk cId="4241891639" sldId="2147483650"/>
        </pc:sldMasterMkLst>
        <pc:sldLayoutChg chg="del">
          <pc:chgData name="Laurent Thiebaut (Nokia)" userId="5a0f83ef-4330-4e17-8828-eca8fc03b257" providerId="ADAL" clId="{5310EB25-F9B9-4A97-A366-9C3AA60D0180}" dt="2023-03-05T19:55:14.894" v="0" actId="2696"/>
          <pc:sldLayoutMkLst>
            <pc:docMk/>
            <pc:sldMasterMk cId="4241891639" sldId="2147483650"/>
            <pc:sldLayoutMk cId="4193328900" sldId="2147483907"/>
          </pc:sldLayoutMkLst>
        </pc:sldLayoutChg>
      </pc:sldMasterChg>
    </pc:docChg>
  </pc:docChgLst>
  <pc:docChgLst>
    <pc:chgData name="Georgios Gkellas (Nokia)" userId="S::georgios.gkellas@nokia.com::14ba2343-2450-4dd7-bb6e-3fde05a409c8" providerId="AD" clId="Web-{9ABF3FD0-065F-8B54-CC20-BA85F29692A8}"/>
    <pc:docChg chg="delSld modSld">
      <pc:chgData name="Georgios Gkellas (Nokia)" userId="S::georgios.gkellas@nokia.com::14ba2343-2450-4dd7-bb6e-3fde05a409c8" providerId="AD" clId="Web-{9ABF3FD0-065F-8B54-CC20-BA85F29692A8}" dt="2023-03-03T19:42:08.170" v="140"/>
      <pc:docMkLst>
        <pc:docMk/>
      </pc:docMkLst>
      <pc:sldChg chg="modSp">
        <pc:chgData name="Georgios Gkellas (Nokia)" userId="S::georgios.gkellas@nokia.com::14ba2343-2450-4dd7-bb6e-3fde05a409c8" providerId="AD" clId="Web-{9ABF3FD0-065F-8B54-CC20-BA85F29692A8}" dt="2023-03-03T19:20:06.243" v="12" actId="20577"/>
        <pc:sldMkLst>
          <pc:docMk/>
          <pc:sldMk cId="2165169509" sldId="258"/>
        </pc:sldMkLst>
        <pc:spChg chg="mod">
          <ac:chgData name="Georgios Gkellas (Nokia)" userId="S::georgios.gkellas@nokia.com::14ba2343-2450-4dd7-bb6e-3fde05a409c8" providerId="AD" clId="Web-{9ABF3FD0-065F-8B54-CC20-BA85F29692A8}" dt="2023-03-03T19:20:06.243" v="12" actId="20577"/>
          <ac:spMkLst>
            <pc:docMk/>
            <pc:sldMk cId="2165169509" sldId="258"/>
            <ac:spMk id="3" creationId="{A4E748F3-52F3-4227-86AD-9C50826A6263}"/>
          </ac:spMkLst>
        </pc:spChg>
      </pc:sldChg>
      <pc:sldChg chg="del">
        <pc:chgData name="Georgios Gkellas (Nokia)" userId="S::georgios.gkellas@nokia.com::14ba2343-2450-4dd7-bb6e-3fde05a409c8" providerId="AD" clId="Web-{9ABF3FD0-065F-8B54-CC20-BA85F29692A8}" dt="2023-03-03T19:42:03.795" v="137"/>
        <pc:sldMkLst>
          <pc:docMk/>
          <pc:sldMk cId="1569506345" sldId="2146846826"/>
        </pc:sldMkLst>
      </pc:sldChg>
      <pc:sldChg chg="del">
        <pc:chgData name="Georgios Gkellas (Nokia)" userId="S::georgios.gkellas@nokia.com::14ba2343-2450-4dd7-bb6e-3fde05a409c8" providerId="AD" clId="Web-{9ABF3FD0-065F-8B54-CC20-BA85F29692A8}" dt="2023-03-03T19:42:05.123" v="138"/>
        <pc:sldMkLst>
          <pc:docMk/>
          <pc:sldMk cId="266136393" sldId="2146846827"/>
        </pc:sldMkLst>
      </pc:sldChg>
      <pc:sldChg chg="del">
        <pc:chgData name="Georgios Gkellas (Nokia)" userId="S::georgios.gkellas@nokia.com::14ba2343-2450-4dd7-bb6e-3fde05a409c8" providerId="AD" clId="Web-{9ABF3FD0-065F-8B54-CC20-BA85F29692A8}" dt="2023-03-03T19:42:06.998" v="139"/>
        <pc:sldMkLst>
          <pc:docMk/>
          <pc:sldMk cId="184335226" sldId="2146846828"/>
        </pc:sldMkLst>
      </pc:sldChg>
      <pc:sldChg chg="del">
        <pc:chgData name="Georgios Gkellas (Nokia)" userId="S::georgios.gkellas@nokia.com::14ba2343-2450-4dd7-bb6e-3fde05a409c8" providerId="AD" clId="Web-{9ABF3FD0-065F-8B54-CC20-BA85F29692A8}" dt="2023-03-03T19:42:08.170" v="140"/>
        <pc:sldMkLst>
          <pc:docMk/>
          <pc:sldMk cId="4135317378" sldId="2146846949"/>
        </pc:sldMkLst>
      </pc:sldChg>
      <pc:sldChg chg="modSp">
        <pc:chgData name="Georgios Gkellas (Nokia)" userId="S::georgios.gkellas@nokia.com::14ba2343-2450-4dd7-bb6e-3fde05a409c8" providerId="AD" clId="Web-{9ABF3FD0-065F-8B54-CC20-BA85F29692A8}" dt="2023-03-03T19:32:52.643" v="89" actId="20577"/>
        <pc:sldMkLst>
          <pc:docMk/>
          <pc:sldMk cId="3858645594" sldId="2146846988"/>
        </pc:sldMkLst>
        <pc:spChg chg="mod">
          <ac:chgData name="Georgios Gkellas (Nokia)" userId="S::georgios.gkellas@nokia.com::14ba2343-2450-4dd7-bb6e-3fde05a409c8" providerId="AD" clId="Web-{9ABF3FD0-065F-8B54-CC20-BA85F29692A8}" dt="2023-03-03T19:32:52.643" v="89" actId="20577"/>
          <ac:spMkLst>
            <pc:docMk/>
            <pc:sldMk cId="3858645594" sldId="2146846988"/>
            <ac:spMk id="9" creationId="{35C1AC4A-C946-4B46-9F98-9B5BC8C2018A}"/>
          </ac:spMkLst>
        </pc:spChg>
        <pc:spChg chg="mod">
          <ac:chgData name="Georgios Gkellas (Nokia)" userId="S::georgios.gkellas@nokia.com::14ba2343-2450-4dd7-bb6e-3fde05a409c8" providerId="AD" clId="Web-{9ABF3FD0-065F-8B54-CC20-BA85F29692A8}" dt="2023-03-03T19:24:05.538" v="16" actId="20577"/>
          <ac:spMkLst>
            <pc:docMk/>
            <pc:sldMk cId="3858645594" sldId="2146846988"/>
            <ac:spMk id="13" creationId="{FD98391A-3215-45FE-9F20-A1163D4C503B}"/>
          </ac:spMkLst>
        </pc:spChg>
        <pc:graphicFrameChg chg="mod modGraphic">
          <ac:chgData name="Georgios Gkellas (Nokia)" userId="S::georgios.gkellas@nokia.com::14ba2343-2450-4dd7-bb6e-3fde05a409c8" providerId="AD" clId="Web-{9ABF3FD0-065F-8B54-CC20-BA85F29692A8}" dt="2023-03-03T19:29:18.926" v="62" actId="1076"/>
          <ac:graphicFrameMkLst>
            <pc:docMk/>
            <pc:sldMk cId="3858645594" sldId="2146846988"/>
            <ac:graphicFrameMk id="10" creationId="{57E0A60E-1FFC-433D-8048-3178A226F690}"/>
          </ac:graphicFrameMkLst>
        </pc:graphicFrameChg>
      </pc:sldChg>
      <pc:sldChg chg="modSp">
        <pc:chgData name="Georgios Gkellas (Nokia)" userId="S::georgios.gkellas@nokia.com::14ba2343-2450-4dd7-bb6e-3fde05a409c8" providerId="AD" clId="Web-{9ABF3FD0-065F-8B54-CC20-BA85F29692A8}" dt="2023-03-03T19:41:36.217" v="136"/>
        <pc:sldMkLst>
          <pc:docMk/>
          <pc:sldMk cId="343947404" sldId="2146846989"/>
        </pc:sldMkLst>
        <pc:spChg chg="mod">
          <ac:chgData name="Georgios Gkellas (Nokia)" userId="S::georgios.gkellas@nokia.com::14ba2343-2450-4dd7-bb6e-3fde05a409c8" providerId="AD" clId="Web-{9ABF3FD0-065F-8B54-CC20-BA85F29692A8}" dt="2023-03-03T19:36:32.672" v="115" actId="1076"/>
          <ac:spMkLst>
            <pc:docMk/>
            <pc:sldMk cId="343947404" sldId="2146846989"/>
            <ac:spMk id="5" creationId="{EFD965C5-E6A3-4539-8B82-EA892FC2DCFF}"/>
          </ac:spMkLst>
        </pc:spChg>
        <pc:spChg chg="mod">
          <ac:chgData name="Georgios Gkellas (Nokia)" userId="S::georgios.gkellas@nokia.com::14ba2343-2450-4dd7-bb6e-3fde05a409c8" providerId="AD" clId="Web-{9ABF3FD0-065F-8B54-CC20-BA85F29692A8}" dt="2023-03-03T19:36:41.828" v="119" actId="20577"/>
          <ac:spMkLst>
            <pc:docMk/>
            <pc:sldMk cId="343947404" sldId="2146846989"/>
            <ac:spMk id="8" creationId="{F587C6FE-4532-4B3B-8BB7-A81043CB3370}"/>
          </ac:spMkLst>
        </pc:spChg>
        <pc:graphicFrameChg chg="mod modGraphic">
          <ac:chgData name="Georgios Gkellas (Nokia)" userId="S::georgios.gkellas@nokia.com::14ba2343-2450-4dd7-bb6e-3fde05a409c8" providerId="AD" clId="Web-{9ABF3FD0-065F-8B54-CC20-BA85F29692A8}" dt="2023-03-03T19:41:36.217" v="136"/>
          <ac:graphicFrameMkLst>
            <pc:docMk/>
            <pc:sldMk cId="343947404" sldId="2146846989"/>
            <ac:graphicFrameMk id="4" creationId="{935FE07A-5D33-4D43-8C5B-4FC2148B26BC}"/>
          </ac:graphicFrameMkLst>
        </pc:graphicFrameChg>
      </pc:sldChg>
    </pc:docChg>
  </pc:docChgLst>
  <pc:docChgLst>
    <pc:chgData name="Liebhart, Rainer (Nokia - DE/Munich)" userId="9d27e965-bed7-441e-8c07-02c758a9258d" providerId="ADAL" clId="{D3DB6F4A-3ED2-46B3-8C1A-C8FA1502EB29}"/>
    <pc:docChg chg="modSld">
      <pc:chgData name="Liebhart, Rainer (Nokia - DE/Munich)" userId="9d27e965-bed7-441e-8c07-02c758a9258d" providerId="ADAL" clId="{D3DB6F4A-3ED2-46B3-8C1A-C8FA1502EB29}" dt="2021-12-01T09:33:02.617" v="21" actId="1036"/>
      <pc:docMkLst>
        <pc:docMk/>
      </pc:docMkLst>
      <pc:sldChg chg="modSp mod">
        <pc:chgData name="Liebhart, Rainer (Nokia - DE/Munich)" userId="9d27e965-bed7-441e-8c07-02c758a9258d" providerId="ADAL" clId="{D3DB6F4A-3ED2-46B3-8C1A-C8FA1502EB29}" dt="2021-12-01T09:33:02.617" v="21" actId="1036"/>
        <pc:sldMkLst>
          <pc:docMk/>
          <pc:sldMk cId="1331716574" sldId="2134805580"/>
        </pc:sldMkLst>
        <pc:spChg chg="mod">
          <ac:chgData name="Liebhart, Rainer (Nokia - DE/Munich)" userId="9d27e965-bed7-441e-8c07-02c758a9258d" providerId="ADAL" clId="{D3DB6F4A-3ED2-46B3-8C1A-C8FA1502EB29}" dt="2021-12-01T09:33:02.617" v="21" actId="1036"/>
          <ac:spMkLst>
            <pc:docMk/>
            <pc:sldMk cId="1331716574" sldId="2134805580"/>
            <ac:spMk id="6" creationId="{2E20DBE3-132B-4E49-9B12-D7A9DE1B1D38}"/>
          </ac:spMkLst>
        </pc:spChg>
      </pc:sldChg>
    </pc:docChg>
  </pc:docChgLst>
  <pc:docChgLst>
    <pc:chgData name="Casati, Alessio (Nokia - GB)" userId="S::alessio.casati@nokia.com::6f050b0a-bf61-49f1-93be-076af52cf2e7" providerId="AD" clId="Web-{ADDB0559-FDDA-B901-63B4-2452D673087F}"/>
    <pc:docChg chg="addSld modSld">
      <pc:chgData name="Casati, Alessio (Nokia - GB)" userId="S::alessio.casati@nokia.com::6f050b0a-bf61-49f1-93be-076af52cf2e7" providerId="AD" clId="Web-{ADDB0559-FDDA-B901-63B4-2452D673087F}" dt="2020-06-22T15:41:43.195" v="2261" actId="20577"/>
      <pc:docMkLst>
        <pc:docMk/>
      </pc:docMkLst>
      <pc:sldChg chg="modSp">
        <pc:chgData name="Casati, Alessio (Nokia - GB)" userId="S::alessio.casati@nokia.com::6f050b0a-bf61-49f1-93be-076af52cf2e7" providerId="AD" clId="Web-{ADDB0559-FDDA-B901-63B4-2452D673087F}" dt="2020-06-22T15:41:41.664" v="2259" actId="20577"/>
        <pc:sldMkLst>
          <pc:docMk/>
          <pc:sldMk cId="4155464073" sldId="286"/>
        </pc:sldMkLst>
        <pc:spChg chg="mod">
          <ac:chgData name="Casati, Alessio (Nokia - GB)" userId="S::alessio.casati@nokia.com::6f050b0a-bf61-49f1-93be-076af52cf2e7" providerId="AD" clId="Web-{ADDB0559-FDDA-B901-63B4-2452D673087F}" dt="2020-06-22T15:41:41.664" v="2259" actId="20577"/>
          <ac:spMkLst>
            <pc:docMk/>
            <pc:sldMk cId="4155464073" sldId="286"/>
            <ac:spMk id="5" creationId="{A560F786-3A6C-41F0-99EF-DFF4DE7F777C}"/>
          </ac:spMkLst>
        </pc:spChg>
      </pc:sldChg>
      <pc:sldChg chg="modSp">
        <pc:chgData name="Casati, Alessio (Nokia - GB)" userId="S::alessio.casati@nokia.com::6f050b0a-bf61-49f1-93be-076af52cf2e7" providerId="AD" clId="Web-{ADDB0559-FDDA-B901-63B4-2452D673087F}" dt="2020-06-22T15:40:46.413" v="2184" actId="20577"/>
        <pc:sldMkLst>
          <pc:docMk/>
          <pc:sldMk cId="1499451625" sldId="299"/>
        </pc:sldMkLst>
        <pc:spChg chg="mod">
          <ac:chgData name="Casati, Alessio (Nokia - GB)" userId="S::alessio.casati@nokia.com::6f050b0a-bf61-49f1-93be-076af52cf2e7" providerId="AD" clId="Web-{ADDB0559-FDDA-B901-63B4-2452D673087F}" dt="2020-06-22T15:40:46.413" v="2184" actId="20577"/>
          <ac:spMkLst>
            <pc:docMk/>
            <pc:sldMk cId="1499451625" sldId="299"/>
            <ac:spMk id="5" creationId="{A560F786-3A6C-41F0-99EF-DFF4DE7F777C}"/>
          </ac:spMkLst>
        </pc:spChg>
      </pc:sldChg>
      <pc:sldChg chg="modSp">
        <pc:chgData name="Casati, Alessio (Nokia - GB)" userId="S::alessio.casati@nokia.com::6f050b0a-bf61-49f1-93be-076af52cf2e7" providerId="AD" clId="Web-{ADDB0559-FDDA-B901-63B4-2452D673087F}" dt="2020-06-22T15:41:21.257" v="2240" actId="20577"/>
        <pc:sldMkLst>
          <pc:docMk/>
          <pc:sldMk cId="4180799600" sldId="300"/>
        </pc:sldMkLst>
        <pc:spChg chg="mod">
          <ac:chgData name="Casati, Alessio (Nokia - GB)" userId="S::alessio.casati@nokia.com::6f050b0a-bf61-49f1-93be-076af52cf2e7" providerId="AD" clId="Web-{ADDB0559-FDDA-B901-63B4-2452D673087F}" dt="2020-06-22T15:41:21.257" v="2240" actId="20577"/>
          <ac:spMkLst>
            <pc:docMk/>
            <pc:sldMk cId="4180799600" sldId="300"/>
            <ac:spMk id="5" creationId="{A560F786-3A6C-41F0-99EF-DFF4DE7F777C}"/>
          </ac:spMkLst>
        </pc:spChg>
      </pc:sldChg>
      <pc:sldChg chg="modSp">
        <pc:chgData name="Casati, Alessio (Nokia - GB)" userId="S::alessio.casati@nokia.com::6f050b0a-bf61-49f1-93be-076af52cf2e7" providerId="AD" clId="Web-{ADDB0559-FDDA-B901-63B4-2452D673087F}" dt="2020-06-22T15:41:23.976" v="2242" actId="20577"/>
        <pc:sldMkLst>
          <pc:docMk/>
          <pc:sldMk cId="1206555552" sldId="342"/>
        </pc:sldMkLst>
        <pc:spChg chg="mod">
          <ac:chgData name="Casati, Alessio (Nokia - GB)" userId="S::alessio.casati@nokia.com::6f050b0a-bf61-49f1-93be-076af52cf2e7" providerId="AD" clId="Web-{ADDB0559-FDDA-B901-63B4-2452D673087F}" dt="2020-06-22T15:41:23.976" v="2242" actId="20577"/>
          <ac:spMkLst>
            <pc:docMk/>
            <pc:sldMk cId="1206555552" sldId="342"/>
            <ac:spMk id="5" creationId="{A560F786-3A6C-41F0-99EF-DFF4DE7F777C}"/>
          </ac:spMkLst>
        </pc:spChg>
      </pc:sldChg>
      <pc:sldChg chg="modSp">
        <pc:chgData name="Casati, Alessio (Nokia - GB)" userId="S::alessio.casati@nokia.com::6f050b0a-bf61-49f1-93be-076af52cf2e7" providerId="AD" clId="Web-{ADDB0559-FDDA-B901-63B4-2452D673087F}" dt="2020-06-22T14:55:31.435" v="339" actId="20577"/>
        <pc:sldMkLst>
          <pc:docMk/>
          <pc:sldMk cId="878378701" sldId="357"/>
        </pc:sldMkLst>
        <pc:spChg chg="mod">
          <ac:chgData name="Casati, Alessio (Nokia - GB)" userId="S::alessio.casati@nokia.com::6f050b0a-bf61-49f1-93be-076af52cf2e7" providerId="AD" clId="Web-{ADDB0559-FDDA-B901-63B4-2452D673087F}" dt="2020-06-22T14:55:31.435" v="339" actId="20577"/>
          <ac:spMkLst>
            <pc:docMk/>
            <pc:sldMk cId="878378701" sldId="357"/>
            <ac:spMk id="4" creationId="{5C8D5078-B8D0-4095-8466-64F7613FE8A6}"/>
          </ac:spMkLst>
        </pc:spChg>
      </pc:sldChg>
      <pc:sldChg chg="modSp">
        <pc:chgData name="Casati, Alessio (Nokia - GB)" userId="S::alessio.casati@nokia.com::6f050b0a-bf61-49f1-93be-076af52cf2e7" providerId="AD" clId="Web-{ADDB0559-FDDA-B901-63B4-2452D673087F}" dt="2020-06-22T15:18:09.317" v="1537" actId="20577"/>
        <pc:sldMkLst>
          <pc:docMk/>
          <pc:sldMk cId="2662867801" sldId="362"/>
        </pc:sldMkLst>
        <pc:spChg chg="mod">
          <ac:chgData name="Casati, Alessio (Nokia - GB)" userId="S::alessio.casati@nokia.com::6f050b0a-bf61-49f1-93be-076af52cf2e7" providerId="AD" clId="Web-{ADDB0559-FDDA-B901-63B4-2452D673087F}" dt="2020-06-22T15:18:09.317" v="1537" actId="20577"/>
          <ac:spMkLst>
            <pc:docMk/>
            <pc:sldMk cId="2662867801" sldId="362"/>
            <ac:spMk id="4" creationId="{5C8D5078-B8D0-4095-8466-64F7613FE8A6}"/>
          </ac:spMkLst>
        </pc:spChg>
      </pc:sldChg>
      <pc:sldChg chg="modSp add replId">
        <pc:chgData name="Casati, Alessio (Nokia - GB)" userId="S::alessio.casati@nokia.com::6f050b0a-bf61-49f1-93be-076af52cf2e7" providerId="AD" clId="Web-{ADDB0559-FDDA-B901-63B4-2452D673087F}" dt="2020-06-22T15:03:35.114" v="1076" actId="20577"/>
        <pc:sldMkLst>
          <pc:docMk/>
          <pc:sldMk cId="3633687009" sldId="365"/>
        </pc:sldMkLst>
        <pc:spChg chg="mod">
          <ac:chgData name="Casati, Alessio (Nokia - GB)" userId="S::alessio.casati@nokia.com::6f050b0a-bf61-49f1-93be-076af52cf2e7" providerId="AD" clId="Web-{ADDB0559-FDDA-B901-63B4-2452D673087F}" dt="2020-06-22T15:03:35.114" v="1076" actId="20577"/>
          <ac:spMkLst>
            <pc:docMk/>
            <pc:sldMk cId="3633687009" sldId="365"/>
            <ac:spMk id="4" creationId="{5C8D5078-B8D0-4095-8466-64F7613FE8A6}"/>
          </ac:spMkLst>
        </pc:spChg>
      </pc:sldChg>
      <pc:sldChg chg="modSp add replId">
        <pc:chgData name="Casati, Alessio (Nokia - GB)" userId="S::alessio.casati@nokia.com::6f050b0a-bf61-49f1-93be-076af52cf2e7" providerId="AD" clId="Web-{ADDB0559-FDDA-B901-63B4-2452D673087F}" dt="2020-06-22T15:32:12.641" v="1822" actId="20577"/>
        <pc:sldMkLst>
          <pc:docMk/>
          <pc:sldMk cId="2779250645" sldId="366"/>
        </pc:sldMkLst>
        <pc:spChg chg="mod">
          <ac:chgData name="Casati, Alessio (Nokia - GB)" userId="S::alessio.casati@nokia.com::6f050b0a-bf61-49f1-93be-076af52cf2e7" providerId="AD" clId="Web-{ADDB0559-FDDA-B901-63B4-2452D673087F}" dt="2020-06-22T15:32:12.641" v="1822" actId="20577"/>
          <ac:spMkLst>
            <pc:docMk/>
            <pc:sldMk cId="2779250645" sldId="366"/>
            <ac:spMk id="4" creationId="{5C8D5078-B8D0-4095-8466-64F7613FE8A6}"/>
          </ac:spMkLst>
        </pc:spChg>
      </pc:sldChg>
      <pc:sldChg chg="modSp add replId">
        <pc:chgData name="Casati, Alessio (Nokia - GB)" userId="S::alessio.casati@nokia.com::6f050b0a-bf61-49f1-93be-076af52cf2e7" providerId="AD" clId="Web-{ADDB0559-FDDA-B901-63B4-2452D673087F}" dt="2020-06-22T15:32:08.454" v="1819" actId="20577"/>
        <pc:sldMkLst>
          <pc:docMk/>
          <pc:sldMk cId="3522996091" sldId="367"/>
        </pc:sldMkLst>
        <pc:spChg chg="mod">
          <ac:chgData name="Casati, Alessio (Nokia - GB)" userId="S::alessio.casati@nokia.com::6f050b0a-bf61-49f1-93be-076af52cf2e7" providerId="AD" clId="Web-{ADDB0559-FDDA-B901-63B4-2452D673087F}" dt="2020-06-22T15:32:08.454" v="1819" actId="20577"/>
          <ac:spMkLst>
            <pc:docMk/>
            <pc:sldMk cId="3522996091" sldId="367"/>
            <ac:spMk id="4" creationId="{5C8D5078-B8D0-4095-8466-64F7613FE8A6}"/>
          </ac:spMkLst>
        </pc:spChg>
      </pc:sldChg>
      <pc:sldChg chg="addSp delSp modSp add replId">
        <pc:chgData name="Casati, Alessio (Nokia - GB)" userId="S::alessio.casati@nokia.com::6f050b0a-bf61-49f1-93be-076af52cf2e7" providerId="AD" clId="Web-{ADDB0559-FDDA-B901-63B4-2452D673087F}" dt="2020-06-22T15:32:02.704" v="1816" actId="20577"/>
        <pc:sldMkLst>
          <pc:docMk/>
          <pc:sldMk cId="1549515959" sldId="368"/>
        </pc:sldMkLst>
        <pc:spChg chg="mod">
          <ac:chgData name="Casati, Alessio (Nokia - GB)" userId="S::alessio.casati@nokia.com::6f050b0a-bf61-49f1-93be-076af52cf2e7" providerId="AD" clId="Web-{ADDB0559-FDDA-B901-63B4-2452D673087F}" dt="2020-06-22T15:32:02.704" v="1816" actId="20577"/>
          <ac:spMkLst>
            <pc:docMk/>
            <pc:sldMk cId="1549515959" sldId="368"/>
            <ac:spMk id="4" creationId="{5C8D5078-B8D0-4095-8466-64F7613FE8A6}"/>
          </ac:spMkLst>
        </pc:spChg>
        <pc:graphicFrameChg chg="add del mod">
          <ac:chgData name="Casati, Alessio (Nokia - GB)" userId="S::alessio.casati@nokia.com::6f050b0a-bf61-49f1-93be-076af52cf2e7" providerId="AD" clId="Web-{ADDB0559-FDDA-B901-63B4-2452D673087F}" dt="2020-06-22T15:28:11.044" v="1765"/>
          <ac:graphicFrameMkLst>
            <pc:docMk/>
            <pc:sldMk cId="1549515959" sldId="368"/>
            <ac:graphicFrameMk id="6" creationId="{0DA31636-4A8B-493A-A5C6-BBC8CABA92BE}"/>
          </ac:graphicFrameMkLst>
        </pc:graphicFrameChg>
      </pc:sldChg>
      <pc:sldChg chg="modSp add replId">
        <pc:chgData name="Casati, Alessio (Nokia - GB)" userId="S::alessio.casati@nokia.com::6f050b0a-bf61-49f1-93be-076af52cf2e7" providerId="AD" clId="Web-{ADDB0559-FDDA-B901-63B4-2452D673087F}" dt="2020-06-22T15:31:59.469" v="1814" actId="20577"/>
        <pc:sldMkLst>
          <pc:docMk/>
          <pc:sldMk cId="2073297427" sldId="369"/>
        </pc:sldMkLst>
        <pc:spChg chg="mod">
          <ac:chgData name="Casati, Alessio (Nokia - GB)" userId="S::alessio.casati@nokia.com::6f050b0a-bf61-49f1-93be-076af52cf2e7" providerId="AD" clId="Web-{ADDB0559-FDDA-B901-63B4-2452D673087F}" dt="2020-06-22T15:31:59.469" v="1814" actId="20577"/>
          <ac:spMkLst>
            <pc:docMk/>
            <pc:sldMk cId="2073297427" sldId="369"/>
            <ac:spMk id="4" creationId="{5C8D5078-B8D0-4095-8466-64F7613FE8A6}"/>
          </ac:spMkLst>
        </pc:spChg>
      </pc:sldChg>
      <pc:sldChg chg="add replId">
        <pc:chgData name="Casati, Alessio (Nokia - GB)" userId="S::alessio.casati@nokia.com::6f050b0a-bf61-49f1-93be-076af52cf2e7" providerId="AD" clId="Web-{ADDB0559-FDDA-B901-63B4-2452D673087F}" dt="2020-06-22T15:32:23.907" v="1825"/>
        <pc:sldMkLst>
          <pc:docMk/>
          <pc:sldMk cId="730288816" sldId="370"/>
        </pc:sldMkLst>
      </pc:sldChg>
      <pc:sldChg chg="modSp add replId">
        <pc:chgData name="Casati, Alessio (Nokia - GB)" userId="S::alessio.casati@nokia.com::6f050b0a-bf61-49f1-93be-076af52cf2e7" providerId="AD" clId="Web-{ADDB0559-FDDA-B901-63B4-2452D673087F}" dt="2020-06-22T15:35:11.518" v="1885" actId="20577"/>
        <pc:sldMkLst>
          <pc:docMk/>
          <pc:sldMk cId="4003911250" sldId="371"/>
        </pc:sldMkLst>
        <pc:spChg chg="mod">
          <ac:chgData name="Casati, Alessio (Nokia - GB)" userId="S::alessio.casati@nokia.com::6f050b0a-bf61-49f1-93be-076af52cf2e7" providerId="AD" clId="Web-{ADDB0559-FDDA-B901-63B4-2452D673087F}" dt="2020-06-22T15:35:11.518" v="1885" actId="20577"/>
          <ac:spMkLst>
            <pc:docMk/>
            <pc:sldMk cId="4003911250" sldId="371"/>
            <ac:spMk id="4" creationId="{5C8D5078-B8D0-4095-8466-64F7613FE8A6}"/>
          </ac:spMkLst>
        </pc:spChg>
      </pc:sldChg>
    </pc:docChg>
  </pc:docChgLst>
  <pc:docChgLst>
    <pc:chgData name="Lair, Yannick (Nokia - FR/Paris-Saclay)" userId="e0601b81-de45-4b0d-b7c3-b06e9080ce2c" providerId="ADAL" clId="{9B84799C-036D-4897-B215-9C4111C6F915}"/>
    <pc:docChg chg="undo redo custSel modSld">
      <pc:chgData name="Lair, Yannick (Nokia - FR/Paris-Saclay)" userId="e0601b81-de45-4b0d-b7c3-b06e9080ce2c" providerId="ADAL" clId="{9B84799C-036D-4897-B215-9C4111C6F915}" dt="2022-06-13T09:41:21.361" v="304" actId="255"/>
      <pc:docMkLst>
        <pc:docMk/>
      </pc:docMkLst>
      <pc:sldChg chg="modSp mod">
        <pc:chgData name="Lair, Yannick (Nokia - FR/Paris-Saclay)" userId="e0601b81-de45-4b0d-b7c3-b06e9080ce2c" providerId="ADAL" clId="{9B84799C-036D-4897-B215-9C4111C6F915}" dt="2022-06-13T08:40:54.650" v="17" actId="6549"/>
        <pc:sldMkLst>
          <pc:docMk/>
          <pc:sldMk cId="1819896102" sldId="2134805586"/>
        </pc:sldMkLst>
        <pc:spChg chg="mod">
          <ac:chgData name="Lair, Yannick (Nokia - FR/Paris-Saclay)" userId="e0601b81-de45-4b0d-b7c3-b06e9080ce2c" providerId="ADAL" clId="{9B84799C-036D-4897-B215-9C4111C6F915}" dt="2022-06-13T08:40:54.650" v="17" actId="6549"/>
          <ac:spMkLst>
            <pc:docMk/>
            <pc:sldMk cId="1819896102" sldId="2134805586"/>
            <ac:spMk id="4" creationId="{CD72C33D-DF40-4601-AF02-8DFD5A6EA958}"/>
          </ac:spMkLst>
        </pc:spChg>
      </pc:sldChg>
      <pc:sldChg chg="addSp delSp modSp mod">
        <pc:chgData name="Lair, Yannick (Nokia - FR/Paris-Saclay)" userId="e0601b81-de45-4b0d-b7c3-b06e9080ce2c" providerId="ADAL" clId="{9B84799C-036D-4897-B215-9C4111C6F915}" dt="2022-06-13T09:41:21.361" v="304" actId="255"/>
        <pc:sldMkLst>
          <pc:docMk/>
          <pc:sldMk cId="3007859491" sldId="2134805595"/>
        </pc:sldMkLst>
        <pc:spChg chg="mod">
          <ac:chgData name="Lair, Yannick (Nokia - FR/Paris-Saclay)" userId="e0601b81-de45-4b0d-b7c3-b06e9080ce2c" providerId="ADAL" clId="{9B84799C-036D-4897-B215-9C4111C6F915}" dt="2022-06-13T09:40:56.625" v="300" actId="20577"/>
          <ac:spMkLst>
            <pc:docMk/>
            <pc:sldMk cId="3007859491" sldId="2134805595"/>
            <ac:spMk id="2" creationId="{F55F6DD9-9F73-4475-B4C0-0BD35C69E49D}"/>
          </ac:spMkLst>
        </pc:spChg>
        <pc:spChg chg="mod">
          <ac:chgData name="Lair, Yannick (Nokia - FR/Paris-Saclay)" userId="e0601b81-de45-4b0d-b7c3-b06e9080ce2c" providerId="ADAL" clId="{9B84799C-036D-4897-B215-9C4111C6F915}" dt="2022-06-13T09:41:21.361" v="304" actId="255"/>
          <ac:spMkLst>
            <pc:docMk/>
            <pc:sldMk cId="3007859491" sldId="2134805595"/>
            <ac:spMk id="4" creationId="{CD72C33D-DF40-4601-AF02-8DFD5A6EA958}"/>
          </ac:spMkLst>
        </pc:spChg>
        <pc:graphicFrameChg chg="add del mod">
          <ac:chgData name="Lair, Yannick (Nokia - FR/Paris-Saclay)" userId="e0601b81-de45-4b0d-b7c3-b06e9080ce2c" providerId="ADAL" clId="{9B84799C-036D-4897-B215-9C4111C6F915}" dt="2022-06-13T09:01:26.326" v="122"/>
          <ac:graphicFrameMkLst>
            <pc:docMk/>
            <pc:sldMk cId="3007859491" sldId="2134805595"/>
            <ac:graphicFrameMk id="6" creationId="{BE8CA7CE-B2E6-4FD0-A834-DA37BDB53035}"/>
          </ac:graphicFrameMkLst>
        </pc:graphicFrameChg>
        <pc:graphicFrameChg chg="add mod modGraphic">
          <ac:chgData name="Lair, Yannick (Nokia - FR/Paris-Saclay)" userId="e0601b81-de45-4b0d-b7c3-b06e9080ce2c" providerId="ADAL" clId="{9B84799C-036D-4897-B215-9C4111C6F915}" dt="2022-06-13T09:41:13.271" v="302" actId="1076"/>
          <ac:graphicFrameMkLst>
            <pc:docMk/>
            <pc:sldMk cId="3007859491" sldId="2134805595"/>
            <ac:graphicFrameMk id="7" creationId="{8E2396B6-3C86-4578-9DAB-B2E6D6977FDE}"/>
          </ac:graphicFrameMkLst>
        </pc:graphicFrameChg>
      </pc:sldChg>
    </pc:docChg>
  </pc:docChgLst>
  <pc:docChgLst>
    <pc:chgData name="Casati, Alessio (Nokia - GB)" userId="S::alessio.casati@nokia.com::6f050b0a-bf61-49f1-93be-076af52cf2e7" providerId="AD" clId="Web-{B540F36E-C8E2-329B-5530-CB41E0940EDB}"/>
    <pc:docChg chg="modSld">
      <pc:chgData name="Casati, Alessio (Nokia - GB)" userId="S::alessio.casati@nokia.com::6f050b0a-bf61-49f1-93be-076af52cf2e7" providerId="AD" clId="Web-{B540F36E-C8E2-329B-5530-CB41E0940EDB}" dt="2021-11-02T15:11:11.650" v="1"/>
      <pc:docMkLst>
        <pc:docMk/>
      </pc:docMkLst>
      <pc:sldChg chg="addSp delSp modSp">
        <pc:chgData name="Casati, Alessio (Nokia - GB)" userId="S::alessio.casati@nokia.com::6f050b0a-bf61-49f1-93be-076af52cf2e7" providerId="AD" clId="Web-{B540F36E-C8E2-329B-5530-CB41E0940EDB}" dt="2021-11-02T15:11:11.650" v="1"/>
        <pc:sldMkLst>
          <pc:docMk/>
          <pc:sldMk cId="4028873258" sldId="2134805419"/>
        </pc:sldMkLst>
        <pc:picChg chg="add del mod">
          <ac:chgData name="Casati, Alessio (Nokia - GB)" userId="S::alessio.casati@nokia.com::6f050b0a-bf61-49f1-93be-076af52cf2e7" providerId="AD" clId="Web-{B540F36E-C8E2-329B-5530-CB41E0940EDB}" dt="2021-11-02T15:11:11.650" v="1"/>
          <ac:picMkLst>
            <pc:docMk/>
            <pc:sldMk cId="4028873258" sldId="2134805419"/>
            <ac:picMk id="5" creationId="{182544DC-5E4D-4141-A582-4F1FF0CAEA51}"/>
          </ac:picMkLst>
        </pc:picChg>
      </pc:sldChg>
    </pc:docChg>
  </pc:docChgLst>
  <pc:docChgLst>
    <pc:chgData name="Chandramouli, Devaki (Nokia - US/Dallas)" userId="ebf2a9f8-651b-4485-926f-9d93c0eafbc5" providerId="ADAL" clId="{20FE8490-DA70-4459-B5B2-0F974D988053}"/>
    <pc:docChg chg="modSld">
      <pc:chgData name="Chandramouli, Devaki (Nokia - US/Dallas)" userId="ebf2a9f8-651b-4485-926f-9d93c0eafbc5" providerId="ADAL" clId="{20FE8490-DA70-4459-B5B2-0F974D988053}" dt="2020-02-24T11:45:14.834" v="0" actId="20577"/>
      <pc:docMkLst>
        <pc:docMk/>
      </pc:docMkLst>
      <pc:sldChg chg="modSp">
        <pc:chgData name="Chandramouli, Devaki (Nokia - US/Dallas)" userId="ebf2a9f8-651b-4485-926f-9d93c0eafbc5" providerId="ADAL" clId="{20FE8490-DA70-4459-B5B2-0F974D988053}" dt="2020-02-24T11:45:14.834" v="0" actId="20577"/>
        <pc:sldMkLst>
          <pc:docMk/>
          <pc:sldMk cId="2165169509" sldId="258"/>
        </pc:sldMkLst>
        <pc:spChg chg="mod">
          <ac:chgData name="Chandramouli, Devaki (Nokia - US/Dallas)" userId="ebf2a9f8-651b-4485-926f-9d93c0eafbc5" providerId="ADAL" clId="{20FE8490-DA70-4459-B5B2-0F974D988053}" dt="2020-02-24T11:45:14.834" v="0" actId="20577"/>
          <ac:spMkLst>
            <pc:docMk/>
            <pc:sldMk cId="2165169509" sldId="258"/>
            <ac:spMk id="2" creationId="{673AE4A4-F521-4B46-BB77-BDFFF6278B02}"/>
          </ac:spMkLst>
        </pc:spChg>
      </pc:sldChg>
    </pc:docChg>
  </pc:docChgLst>
  <pc:docChgLst>
    <pc:chgData name="Chandramouli, Devaki (Nokia - US/Dallas)" userId="ebf2a9f8-651b-4485-926f-9d93c0eafbc5" providerId="ADAL" clId="{302DAA8D-5C30-4B0E-A222-CEBEC9BB9E91}"/>
    <pc:docChg chg="undo custSel addSld delSld modSld">
      <pc:chgData name="Chandramouli, Devaki (Nokia - US/Dallas)" userId="ebf2a9f8-651b-4485-926f-9d93c0eafbc5" providerId="ADAL" clId="{302DAA8D-5C30-4B0E-A222-CEBEC9BB9E91}" dt="2021-04-25T23:10:04.004" v="1128"/>
      <pc:docMkLst>
        <pc:docMk/>
      </pc:docMkLst>
      <pc:sldChg chg="addSp delSp modSp mod">
        <pc:chgData name="Chandramouli, Devaki (Nokia - US/Dallas)" userId="ebf2a9f8-651b-4485-926f-9d93c0eafbc5" providerId="ADAL" clId="{302DAA8D-5C30-4B0E-A222-CEBEC9BB9E91}" dt="2021-04-25T23:06:11.948" v="1124" actId="20577"/>
        <pc:sldMkLst>
          <pc:docMk/>
          <pc:sldMk cId="1389723289" sldId="280"/>
        </pc:sldMkLst>
        <pc:spChg chg="mod">
          <ac:chgData name="Chandramouli, Devaki (Nokia - US/Dallas)" userId="ebf2a9f8-651b-4485-926f-9d93c0eafbc5" providerId="ADAL" clId="{302DAA8D-5C30-4B0E-A222-CEBEC9BB9E91}" dt="2021-04-25T23:06:11.948" v="1124" actId="20577"/>
          <ac:spMkLst>
            <pc:docMk/>
            <pc:sldMk cId="1389723289" sldId="280"/>
            <ac:spMk id="5" creationId="{A560F786-3A6C-41F0-99EF-DFF4DE7F777C}"/>
          </ac:spMkLst>
        </pc:spChg>
        <pc:spChg chg="add del mod">
          <ac:chgData name="Chandramouli, Devaki (Nokia - US/Dallas)" userId="ebf2a9f8-651b-4485-926f-9d93c0eafbc5" providerId="ADAL" clId="{302DAA8D-5C30-4B0E-A222-CEBEC9BB9E91}" dt="2021-04-25T22:13:09.821" v="5" actId="478"/>
          <ac:spMkLst>
            <pc:docMk/>
            <pc:sldMk cId="1389723289" sldId="280"/>
            <ac:spMk id="6" creationId="{4EAE5A7D-A606-4134-87BC-2089A26FAB38}"/>
          </ac:spMkLst>
        </pc:spChg>
        <pc:spChg chg="add del mod">
          <ac:chgData name="Chandramouli, Devaki (Nokia - US/Dallas)" userId="ebf2a9f8-651b-4485-926f-9d93c0eafbc5" providerId="ADAL" clId="{302DAA8D-5C30-4B0E-A222-CEBEC9BB9E91}" dt="2021-04-25T23:05:15.233" v="1002"/>
          <ac:spMkLst>
            <pc:docMk/>
            <pc:sldMk cId="1389723289" sldId="280"/>
            <ac:spMk id="8" creationId="{7F5DE31E-85C9-423B-AE0E-30F12B31BAAF}"/>
          </ac:spMkLst>
        </pc:spChg>
        <pc:graphicFrameChg chg="add del mod">
          <ac:chgData name="Chandramouli, Devaki (Nokia - US/Dallas)" userId="ebf2a9f8-651b-4485-926f-9d93c0eafbc5" providerId="ADAL" clId="{302DAA8D-5C30-4B0E-A222-CEBEC9BB9E91}" dt="2021-04-25T23:05:15.233" v="1002"/>
          <ac:graphicFrameMkLst>
            <pc:docMk/>
            <pc:sldMk cId="1389723289" sldId="280"/>
            <ac:graphicFrameMk id="7" creationId="{6D4705CB-64B3-4531-A2E2-B90019072A58}"/>
          </ac:graphicFrameMkLst>
        </pc:graphicFrameChg>
      </pc:sldChg>
      <pc:sldChg chg="modSp mod">
        <pc:chgData name="Chandramouli, Devaki (Nokia - US/Dallas)" userId="ebf2a9f8-651b-4485-926f-9d93c0eafbc5" providerId="ADAL" clId="{302DAA8D-5C30-4B0E-A222-CEBEC9BB9E91}" dt="2021-04-25T23:04:22.628" v="997" actId="6549"/>
        <pc:sldMkLst>
          <pc:docMk/>
          <pc:sldMk cId="2373054351" sldId="281"/>
        </pc:sldMkLst>
        <pc:spChg chg="mod">
          <ac:chgData name="Chandramouli, Devaki (Nokia - US/Dallas)" userId="ebf2a9f8-651b-4485-926f-9d93c0eafbc5" providerId="ADAL" clId="{302DAA8D-5C30-4B0E-A222-CEBEC9BB9E91}" dt="2021-04-25T23:04:22.628" v="997" actId="6549"/>
          <ac:spMkLst>
            <pc:docMk/>
            <pc:sldMk cId="2373054351" sldId="281"/>
            <ac:spMk id="5" creationId="{A560F786-3A6C-41F0-99EF-DFF4DE7F777C}"/>
          </ac:spMkLst>
        </pc:spChg>
      </pc:sldChg>
      <pc:sldChg chg="modSp mod">
        <pc:chgData name="Chandramouli, Devaki (Nokia - US/Dallas)" userId="ebf2a9f8-651b-4485-926f-9d93c0eafbc5" providerId="ADAL" clId="{302DAA8D-5C30-4B0E-A222-CEBEC9BB9E91}" dt="2021-04-25T23:03:50.586" v="945" actId="20577"/>
        <pc:sldMkLst>
          <pc:docMk/>
          <pc:sldMk cId="2557244844" sldId="288"/>
        </pc:sldMkLst>
        <pc:spChg chg="mod">
          <ac:chgData name="Chandramouli, Devaki (Nokia - US/Dallas)" userId="ebf2a9f8-651b-4485-926f-9d93c0eafbc5" providerId="ADAL" clId="{302DAA8D-5C30-4B0E-A222-CEBEC9BB9E91}" dt="2021-04-25T23:03:50.586" v="945" actId="20577"/>
          <ac:spMkLst>
            <pc:docMk/>
            <pc:sldMk cId="2557244844" sldId="288"/>
            <ac:spMk id="5" creationId="{A560F786-3A6C-41F0-99EF-DFF4DE7F777C}"/>
          </ac:spMkLst>
        </pc:spChg>
      </pc:sldChg>
      <pc:sldChg chg="modSp mod">
        <pc:chgData name="Chandramouli, Devaki (Nokia - US/Dallas)" userId="ebf2a9f8-651b-4485-926f-9d93c0eafbc5" providerId="ADAL" clId="{302DAA8D-5C30-4B0E-A222-CEBEC9BB9E91}" dt="2021-04-25T23:04:00.993" v="971" actId="20577"/>
        <pc:sldMkLst>
          <pc:docMk/>
          <pc:sldMk cId="3687963215" sldId="289"/>
        </pc:sldMkLst>
        <pc:spChg chg="mod">
          <ac:chgData name="Chandramouli, Devaki (Nokia - US/Dallas)" userId="ebf2a9f8-651b-4485-926f-9d93c0eafbc5" providerId="ADAL" clId="{302DAA8D-5C30-4B0E-A222-CEBEC9BB9E91}" dt="2021-04-25T23:04:00.993" v="971" actId="20577"/>
          <ac:spMkLst>
            <pc:docMk/>
            <pc:sldMk cId="3687963215" sldId="289"/>
            <ac:spMk id="5" creationId="{A560F786-3A6C-41F0-99EF-DFF4DE7F777C}"/>
          </ac:spMkLst>
        </pc:spChg>
      </pc:sldChg>
      <pc:sldChg chg="modSp mod">
        <pc:chgData name="Chandramouli, Devaki (Nokia - US/Dallas)" userId="ebf2a9f8-651b-4485-926f-9d93c0eafbc5" providerId="ADAL" clId="{302DAA8D-5C30-4B0E-A222-CEBEC9BB9E91}" dt="2021-04-25T23:02:51.430" v="916" actId="255"/>
        <pc:sldMkLst>
          <pc:docMk/>
          <pc:sldMk cId="1886061748" sldId="355"/>
        </pc:sldMkLst>
        <pc:spChg chg="mod">
          <ac:chgData name="Chandramouli, Devaki (Nokia - US/Dallas)" userId="ebf2a9f8-651b-4485-926f-9d93c0eafbc5" providerId="ADAL" clId="{302DAA8D-5C30-4B0E-A222-CEBEC9BB9E91}" dt="2021-04-25T23:02:51.430" v="916" actId="255"/>
          <ac:spMkLst>
            <pc:docMk/>
            <pc:sldMk cId="1886061748" sldId="355"/>
            <ac:spMk id="4" creationId="{5C8D5078-B8D0-4095-8466-64F7613FE8A6}"/>
          </ac:spMkLst>
        </pc:spChg>
      </pc:sldChg>
      <pc:sldChg chg="modSp mod">
        <pc:chgData name="Chandramouli, Devaki (Nokia - US/Dallas)" userId="ebf2a9f8-651b-4485-926f-9d93c0eafbc5" providerId="ADAL" clId="{302DAA8D-5C30-4B0E-A222-CEBEC9BB9E91}" dt="2021-04-25T22:56:13.044" v="250" actId="27636"/>
        <pc:sldMkLst>
          <pc:docMk/>
          <pc:sldMk cId="887653284" sldId="359"/>
        </pc:sldMkLst>
        <pc:spChg chg="mod">
          <ac:chgData name="Chandramouli, Devaki (Nokia - US/Dallas)" userId="ebf2a9f8-651b-4485-926f-9d93c0eafbc5" providerId="ADAL" clId="{302DAA8D-5C30-4B0E-A222-CEBEC9BB9E91}" dt="2021-04-25T22:56:13.044" v="250" actId="27636"/>
          <ac:spMkLst>
            <pc:docMk/>
            <pc:sldMk cId="887653284" sldId="359"/>
            <ac:spMk id="4" creationId="{5C8D5078-B8D0-4095-8466-64F7613FE8A6}"/>
          </ac:spMkLst>
        </pc:spChg>
      </pc:sldChg>
      <pc:sldChg chg="modSp mod">
        <pc:chgData name="Chandramouli, Devaki (Nokia - US/Dallas)" userId="ebf2a9f8-651b-4485-926f-9d93c0eafbc5" providerId="ADAL" clId="{302DAA8D-5C30-4B0E-A222-CEBEC9BB9E91}" dt="2021-04-25T22:54:31.944" v="234" actId="113"/>
        <pc:sldMkLst>
          <pc:docMk/>
          <pc:sldMk cId="2364299864" sldId="373"/>
        </pc:sldMkLst>
        <pc:spChg chg="mod">
          <ac:chgData name="Chandramouli, Devaki (Nokia - US/Dallas)" userId="ebf2a9f8-651b-4485-926f-9d93c0eafbc5" providerId="ADAL" clId="{302DAA8D-5C30-4B0E-A222-CEBEC9BB9E91}" dt="2021-04-25T22:54:31.944" v="234" actId="113"/>
          <ac:spMkLst>
            <pc:docMk/>
            <pc:sldMk cId="2364299864" sldId="373"/>
            <ac:spMk id="4" creationId="{5C8D5078-B8D0-4095-8466-64F7613FE8A6}"/>
          </ac:spMkLst>
        </pc:spChg>
      </pc:sldChg>
      <pc:sldChg chg="del">
        <pc:chgData name="Chandramouli, Devaki (Nokia - US/Dallas)" userId="ebf2a9f8-651b-4485-926f-9d93c0eafbc5" providerId="ADAL" clId="{302DAA8D-5C30-4B0E-A222-CEBEC9BB9E91}" dt="2021-04-25T22:48:08.794" v="176" actId="47"/>
        <pc:sldMkLst>
          <pc:docMk/>
          <pc:sldMk cId="1345092997" sldId="375"/>
        </pc:sldMkLst>
      </pc:sldChg>
      <pc:sldChg chg="addSp delSp modSp mod">
        <pc:chgData name="Chandramouli, Devaki (Nokia - US/Dallas)" userId="ebf2a9f8-651b-4485-926f-9d93c0eafbc5" providerId="ADAL" clId="{302DAA8D-5C30-4B0E-A222-CEBEC9BB9E91}" dt="2021-04-25T23:10:04.004" v="1128"/>
        <pc:sldMkLst>
          <pc:docMk/>
          <pc:sldMk cId="2650957761" sldId="800"/>
        </pc:sldMkLst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6" creationId="{242001B5-F2BA-46C5-BC85-3151E15C000E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7" creationId="{F823408C-D57C-4A8F-B482-469E58E35C42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17" creationId="{594129FE-079E-42E7-B27D-EBC032D14A1B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20" creationId="{7E4897CE-0A01-4081-8107-3266CFFCF85F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22" creationId="{375BBFA8-E70B-409B-A5B8-8A15B52A0397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23" creationId="{FC9F440C-83E7-43D4-AFE8-916C764BCABE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24" creationId="{5D56DDFB-216B-4BBF-9CEB-DD074E8965E6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25" creationId="{43133452-C793-41DF-9AE7-3ACD83874075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27" creationId="{046BD491-3DBD-47E9-860B-25FFB1FF9DC1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28" creationId="{FC08D7EE-8F6B-413E-8EAB-8A46A75388A6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31" creationId="{FF839FD1-D34B-43A1-8278-DE1F9892E17D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35" creationId="{AEB2E748-E2D4-4B9B-98BA-93753170175E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38" creationId="{B7703835-3546-4362-A853-2E5F0FB348FB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39" creationId="{AB3A7643-A806-4508-BCC4-4A655434CB34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40" creationId="{B0A66BE3-0EFA-4953-8CBD-8B4285AAE618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42" creationId="{2DA7735E-2053-4ACE-A8EE-356D174B9A4D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43" creationId="{716321BB-B260-4512-BC6F-C901DAB78E83}"/>
          </ac:spMkLst>
        </pc:spChg>
        <pc:spChg chg="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49" creationId="{F1ADC953-1EB8-4692-8B76-D35476F5AC72}"/>
          </ac:spMkLst>
        </pc:spChg>
        <pc:spChg chg="del">
          <ac:chgData name="Chandramouli, Devaki (Nokia - US/Dallas)" userId="ebf2a9f8-651b-4485-926f-9d93c0eafbc5" providerId="ADAL" clId="{302DAA8D-5C30-4B0E-A222-CEBEC9BB9E91}" dt="2021-04-25T23:10:03.145" v="1127" actId="478"/>
          <ac:spMkLst>
            <pc:docMk/>
            <pc:sldMk cId="2650957761" sldId="800"/>
            <ac:spMk id="51" creationId="{8F7B8067-E818-4A26-8F70-A6482EBFF74B}"/>
          </ac:spMkLst>
        </pc:spChg>
        <pc:spChg chg="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52" creationId="{9839B67B-835E-4B35-B7BB-6293BD726F90}"/>
          </ac:spMkLst>
        </pc:spChg>
        <pc:spChg chg="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55" creationId="{FCE2E58D-1402-4261-B44F-58D94C581FBD}"/>
          </ac:spMkLst>
        </pc:spChg>
        <pc:spChg chg="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57" creationId="{67B70E9B-5240-497D-8A6A-641B86147A72}"/>
          </ac:spMkLst>
        </pc:spChg>
        <pc:spChg chg="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59" creationId="{91C979A4-6244-42C3-A444-7455A4DB6C9D}"/>
          </ac:spMkLst>
        </pc:spChg>
        <pc:spChg chg="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62" creationId="{1BAFA4F3-1F44-49C5-ACEA-0DF12431A2D6}"/>
          </ac:spMkLst>
        </pc:spChg>
        <pc:spChg chg="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63" creationId="{DC56F488-EC39-4EF3-B295-5445D19B9886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66" creationId="{1B3530CD-4702-4885-AD86-CE60B1E54920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71" creationId="{00F8D663-6696-4172-A283-2342D7076B41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72" creationId="{92EF91A8-80D3-41F1-AB43-ECCAE732EAA2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74" creationId="{17A48626-9AEF-4ED6-834C-E6B613A53B74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78" creationId="{4984790B-018F-4B19-B36B-046A46D870CF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81" creationId="{62855B8C-92C3-483E-A2DA-6DBAAE29FF7E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82" creationId="{602A2D5E-93C6-465A-9350-7F84662DECBB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83" creationId="{E8B0E887-396E-4CAF-B501-BB2940DA64C8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84" creationId="{5AFDAD99-836E-40B4-B764-74E43207D7DD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85" creationId="{50DD2C18-26AA-45BD-909A-5499E282E34C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86" creationId="{3F1E798D-91A7-4631-A605-4AAC7B8F5EDA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87" creationId="{6E6BD8BA-2E73-4EAD-8598-010B07F6E0F7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88" creationId="{A8ABD341-697F-4DE8-BA84-1A0472D71AD8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89" creationId="{3927316D-CA79-4F4F-B8F1-F6E33D0EAB17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90" creationId="{0CDE04A4-8353-480A-877A-1339DC01DB8D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93" creationId="{BBA03521-BD25-4D89-BB97-527009667009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94" creationId="{B8D7800D-C782-44EE-9A03-3E64D6980A5A}"/>
          </ac:spMkLst>
        </pc:spChg>
        <pc:spChg chg="add mod">
          <ac:chgData name="Chandramouli, Devaki (Nokia - US/Dallas)" userId="ebf2a9f8-651b-4485-926f-9d93c0eafbc5" providerId="ADAL" clId="{302DAA8D-5C30-4B0E-A222-CEBEC9BB9E91}" dt="2021-04-25T23:10:04.004" v="1128"/>
          <ac:spMkLst>
            <pc:docMk/>
            <pc:sldMk cId="2650957761" sldId="800"/>
            <ac:spMk id="95" creationId="{A5D06238-32FD-4C42-9071-9FCDFD4DE648}"/>
          </ac:spMkLst>
        </pc:spChg>
        <pc:grpChg chg="del">
          <ac:chgData name="Chandramouli, Devaki (Nokia - US/Dallas)" userId="ebf2a9f8-651b-4485-926f-9d93c0eafbc5" providerId="ADAL" clId="{302DAA8D-5C30-4B0E-A222-CEBEC9BB9E91}" dt="2021-04-25T23:10:03.145" v="1127" actId="478"/>
          <ac:grpSpMkLst>
            <pc:docMk/>
            <pc:sldMk cId="2650957761" sldId="800"/>
            <ac:grpSpMk id="8" creationId="{F2175CD8-8CB8-4E5E-BCEE-5DE8366B56E6}"/>
          </ac:grpSpMkLst>
        </pc:grpChg>
        <pc:grpChg chg="add mod">
          <ac:chgData name="Chandramouli, Devaki (Nokia - US/Dallas)" userId="ebf2a9f8-651b-4485-926f-9d93c0eafbc5" providerId="ADAL" clId="{302DAA8D-5C30-4B0E-A222-CEBEC9BB9E91}" dt="2021-04-25T23:10:04.004" v="1128"/>
          <ac:grpSpMkLst>
            <pc:docMk/>
            <pc:sldMk cId="2650957761" sldId="800"/>
            <ac:grpSpMk id="47" creationId="{6F1723D3-6279-414D-A91E-56FD7CAF9BEA}"/>
          </ac:grpSpMkLst>
        </pc:grpChg>
        <pc:picChg chg="del">
          <ac:chgData name="Chandramouli, Devaki (Nokia - US/Dallas)" userId="ebf2a9f8-651b-4485-926f-9d93c0eafbc5" providerId="ADAL" clId="{302DAA8D-5C30-4B0E-A222-CEBEC9BB9E91}" dt="2021-04-25T23:10:03.145" v="1127" actId="478"/>
          <ac:picMkLst>
            <pc:docMk/>
            <pc:sldMk cId="2650957761" sldId="800"/>
            <ac:picMk id="5" creationId="{FFD5BB53-A15F-47BE-BDF9-6FAC7E65EFDC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41" creationId="{B36D586D-B6AB-4AF2-961E-111DEDB1F9D5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46" creationId="{8B373457-3754-471C-B4DC-BA31A43B3F68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67" creationId="{14BA678B-58FB-482E-8CCD-CD173733C693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70" creationId="{582E39FF-501A-40BE-91CC-313701AC109C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73" creationId="{CB7B0D42-DA04-4D3A-BDDF-5F9D29B73473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75" creationId="{B714FBF3-FD12-4A5B-A7DC-8C5A947C207B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76" creationId="{87FAA144-BC7E-438D-AF45-29C0D237BB6A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77" creationId="{E551665E-B164-4E24-AA63-4317342A4280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79" creationId="{79D702A6-5E91-4737-83DE-E85318AB45AF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80" creationId="{D6FAA238-8C65-468C-B88E-0544DCA06C71}"/>
          </ac:picMkLst>
        </pc:picChg>
        <pc:picChg chg="add mod">
          <ac:chgData name="Chandramouli, Devaki (Nokia - US/Dallas)" userId="ebf2a9f8-651b-4485-926f-9d93c0eafbc5" providerId="ADAL" clId="{302DAA8D-5C30-4B0E-A222-CEBEC9BB9E91}" dt="2021-04-25T23:10:04.004" v="1128"/>
          <ac:picMkLst>
            <pc:docMk/>
            <pc:sldMk cId="2650957761" sldId="800"/>
            <ac:picMk id="92" creationId="{F02F7FB0-48EA-43E7-A545-A805D262D7FA}"/>
          </ac:picMkLst>
        </pc:pic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11" creationId="{68738682-6F86-464A-9808-D9EDE3985515}"/>
          </ac:cxnSpMkLst>
        </pc:cxn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13" creationId="{20AC9CB6-2F98-4BA4-8B4C-418B352F922D}"/>
          </ac:cxnSpMkLst>
        </pc:cxn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16" creationId="{B5040075-2CF1-4903-B722-1745A393F098}"/>
          </ac:cxnSpMkLst>
        </pc:cxn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19" creationId="{96EEB53B-804D-4BAA-AC37-C50A35B5638F}"/>
          </ac:cxnSpMkLst>
        </pc:cxn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26" creationId="{6820D288-4044-4D51-91B7-9DC0D5E80996}"/>
          </ac:cxnSpMkLst>
        </pc:cxnChg>
        <pc:cxnChg chg="del mod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29" creationId="{CE6F9F98-9EE2-4896-B581-7555B3C528E3}"/>
          </ac:cxnSpMkLst>
        </pc:cxn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32" creationId="{B1B86922-291E-4ED2-8CBA-146AA3EEC8C2}"/>
          </ac:cxnSpMkLst>
        </pc:cxn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33" creationId="{92344949-3AE6-4270-B2F8-D16D2BF67341}"/>
          </ac:cxnSpMkLst>
        </pc:cxn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34" creationId="{10E7FBFF-4512-485E-B506-5C00DA4692C6}"/>
          </ac:cxnSpMkLst>
        </pc:cxn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36" creationId="{D993D891-8D73-4343-8176-3BE51330385A}"/>
          </ac:cxnSpMkLst>
        </pc:cxn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44" creationId="{6AC52350-8C7F-4115-9FA4-84D8F30B45D7}"/>
          </ac:cxnSpMkLst>
        </pc:cxnChg>
        <pc:cxnChg chg="del">
          <ac:chgData name="Chandramouli, Devaki (Nokia - US/Dallas)" userId="ebf2a9f8-651b-4485-926f-9d93c0eafbc5" providerId="ADAL" clId="{302DAA8D-5C30-4B0E-A222-CEBEC9BB9E91}" dt="2021-04-25T23:10:03.145" v="1127" actId="478"/>
          <ac:cxnSpMkLst>
            <pc:docMk/>
            <pc:sldMk cId="2650957761" sldId="800"/>
            <ac:cxnSpMk id="45" creationId="{07B27851-83AB-4CBE-AF5E-465233D692A7}"/>
          </ac:cxnSpMkLst>
        </pc:cxnChg>
        <pc:cxnChg chg="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48" creationId="{BA8180A8-FDCF-417A-89B0-FAB15DE18FA4}"/>
          </ac:cxnSpMkLst>
        </pc:cxnChg>
        <pc:cxnChg chg="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50" creationId="{7667E632-D223-4AE8-A21A-1748EFD6D38F}"/>
          </ac:cxnSpMkLst>
        </pc:cxnChg>
        <pc:cxnChg chg="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53" creationId="{6608A9A5-9F25-4BEC-A026-3E0F750BB050}"/>
          </ac:cxnSpMkLst>
        </pc:cxnChg>
        <pc:cxnChg chg="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54" creationId="{7DE32077-5CAB-4313-B79C-C9FBBE3D41D7}"/>
          </ac:cxnSpMkLst>
        </pc:cxnChg>
        <pc:cxnChg chg="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56" creationId="{1456632D-2E8B-46CA-88F2-289C20D4C111}"/>
          </ac:cxnSpMkLst>
        </pc:cxnChg>
        <pc:cxnChg chg="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58" creationId="{0B2AA22A-F886-4054-AC19-A22BDCC6D91B}"/>
          </ac:cxnSpMkLst>
        </pc:cxnChg>
        <pc:cxnChg chg="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60" creationId="{B615FE7E-01F1-4B28-9DD0-872FB32BF23B}"/>
          </ac:cxnSpMkLst>
        </pc:cxnChg>
        <pc:cxnChg chg="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61" creationId="{93251C70-CFD4-4D54-AAC8-7042EAC95136}"/>
          </ac:cxnSpMkLst>
        </pc:cxnChg>
        <pc:cxnChg chg="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64" creationId="{BBA76EC1-5F37-4ED7-958A-1380E8312F68}"/>
          </ac:cxnSpMkLst>
        </pc:cxnChg>
        <pc:cxnChg chg="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65" creationId="{7608CD80-1815-487A-ACA8-94B79E53B2AC}"/>
          </ac:cxnSpMkLst>
        </pc:cxnChg>
        <pc:cxnChg chg="add 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68" creationId="{E0FD440D-72A7-4172-A341-DF66D37674F8}"/>
          </ac:cxnSpMkLst>
        </pc:cxnChg>
        <pc:cxnChg chg="add 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69" creationId="{4B6DA63E-757F-49B0-9359-4FEEFFE2AEB3}"/>
          </ac:cxnSpMkLst>
        </pc:cxnChg>
        <pc:cxnChg chg="add mod">
          <ac:chgData name="Chandramouli, Devaki (Nokia - US/Dallas)" userId="ebf2a9f8-651b-4485-926f-9d93c0eafbc5" providerId="ADAL" clId="{302DAA8D-5C30-4B0E-A222-CEBEC9BB9E91}" dt="2021-04-25T23:10:04.004" v="1128"/>
          <ac:cxnSpMkLst>
            <pc:docMk/>
            <pc:sldMk cId="2650957761" sldId="800"/>
            <ac:cxnSpMk id="91" creationId="{F01FE8FB-3C2E-43A0-999F-7CE21673A819}"/>
          </ac:cxnSpMkLst>
        </pc:cxnChg>
      </pc:sldChg>
      <pc:sldChg chg="modSp mod">
        <pc:chgData name="Chandramouli, Devaki (Nokia - US/Dallas)" userId="ebf2a9f8-651b-4485-926f-9d93c0eafbc5" providerId="ADAL" clId="{302DAA8D-5C30-4B0E-A222-CEBEC9BB9E91}" dt="2021-04-25T22:59:05.180" v="386" actId="12"/>
        <pc:sldMkLst>
          <pc:docMk/>
          <pc:sldMk cId="1079460770" sldId="2134805373"/>
        </pc:sldMkLst>
        <pc:spChg chg="mod">
          <ac:chgData name="Chandramouli, Devaki (Nokia - US/Dallas)" userId="ebf2a9f8-651b-4485-926f-9d93c0eafbc5" providerId="ADAL" clId="{302DAA8D-5C30-4B0E-A222-CEBEC9BB9E91}" dt="2021-04-25T22:59:05.180" v="386" actId="12"/>
          <ac:spMkLst>
            <pc:docMk/>
            <pc:sldMk cId="1079460770" sldId="2134805373"/>
            <ac:spMk id="6" creationId="{2E20DBE3-132B-4E49-9B12-D7A9DE1B1D38}"/>
          </ac:spMkLst>
        </pc:spChg>
      </pc:sldChg>
      <pc:sldChg chg="addSp delSp modSp mod">
        <pc:chgData name="Chandramouli, Devaki (Nokia - US/Dallas)" userId="ebf2a9f8-651b-4485-926f-9d93c0eafbc5" providerId="ADAL" clId="{302DAA8D-5C30-4B0E-A222-CEBEC9BB9E91}" dt="2021-04-25T22:40:01.058" v="152" actId="1076"/>
        <pc:sldMkLst>
          <pc:docMk/>
          <pc:sldMk cId="4106418367" sldId="2134805426"/>
        </pc:sldMkLst>
        <pc:spChg chg="mod">
          <ac:chgData name="Chandramouli, Devaki (Nokia - US/Dallas)" userId="ebf2a9f8-651b-4485-926f-9d93c0eafbc5" providerId="ADAL" clId="{302DAA8D-5C30-4B0E-A222-CEBEC9BB9E91}" dt="2021-04-25T22:39:52.899" v="151" actId="20577"/>
          <ac:spMkLst>
            <pc:docMk/>
            <pc:sldMk cId="4106418367" sldId="2134805426"/>
            <ac:spMk id="4" creationId="{F46F5340-F269-4BBA-AE17-43A4BB488557}"/>
          </ac:spMkLst>
        </pc:spChg>
        <pc:spChg chg="add del mod">
          <ac:chgData name="Chandramouli, Devaki (Nokia - US/Dallas)" userId="ebf2a9f8-651b-4485-926f-9d93c0eafbc5" providerId="ADAL" clId="{302DAA8D-5C30-4B0E-A222-CEBEC9BB9E91}" dt="2021-04-25T22:37:53.685" v="114" actId="478"/>
          <ac:spMkLst>
            <pc:docMk/>
            <pc:sldMk cId="4106418367" sldId="2134805426"/>
            <ac:spMk id="6" creationId="{4559D970-876F-4B87-9522-C4F58FE05C5D}"/>
          </ac:spMkLst>
        </pc:spChg>
        <pc:graphicFrameChg chg="add del mod modGraphic">
          <ac:chgData name="Chandramouli, Devaki (Nokia - US/Dallas)" userId="ebf2a9f8-651b-4485-926f-9d93c0eafbc5" providerId="ADAL" clId="{302DAA8D-5C30-4B0E-A222-CEBEC9BB9E91}" dt="2021-04-25T22:40:01.058" v="152" actId="1076"/>
          <ac:graphicFrameMkLst>
            <pc:docMk/>
            <pc:sldMk cId="4106418367" sldId="2134805426"/>
            <ac:graphicFrameMk id="5" creationId="{C07B9622-B4A4-4BB8-9E1E-A9E73EE8518E}"/>
          </ac:graphicFrameMkLst>
        </pc:graphicFrameChg>
      </pc:sldChg>
      <pc:sldChg chg="modSp mod">
        <pc:chgData name="Chandramouli, Devaki (Nokia - US/Dallas)" userId="ebf2a9f8-651b-4485-926f-9d93c0eafbc5" providerId="ADAL" clId="{302DAA8D-5C30-4B0E-A222-CEBEC9BB9E91}" dt="2021-04-25T23:01:52.256" v="805" actId="6549"/>
        <pc:sldMkLst>
          <pc:docMk/>
          <pc:sldMk cId="1085580233" sldId="2134805463"/>
        </pc:sldMkLst>
        <pc:spChg chg="mod">
          <ac:chgData name="Chandramouli, Devaki (Nokia - US/Dallas)" userId="ebf2a9f8-651b-4485-926f-9d93c0eafbc5" providerId="ADAL" clId="{302DAA8D-5C30-4B0E-A222-CEBEC9BB9E91}" dt="2021-04-25T23:01:52.256" v="805" actId="6549"/>
          <ac:spMkLst>
            <pc:docMk/>
            <pc:sldMk cId="1085580233" sldId="2134805463"/>
            <ac:spMk id="6" creationId="{2E20DBE3-132B-4E49-9B12-D7A9DE1B1D38}"/>
          </ac:spMkLst>
        </pc:spChg>
      </pc:sldChg>
      <pc:sldChg chg="addSp delSp modSp mod">
        <pc:chgData name="Chandramouli, Devaki (Nokia - US/Dallas)" userId="ebf2a9f8-651b-4485-926f-9d93c0eafbc5" providerId="ADAL" clId="{302DAA8D-5C30-4B0E-A222-CEBEC9BB9E91}" dt="2021-04-25T22:12:33.876" v="0" actId="21"/>
        <pc:sldMkLst>
          <pc:docMk/>
          <pc:sldMk cId="3508041192" sldId="2134805477"/>
        </pc:sldMkLst>
        <pc:spChg chg="del">
          <ac:chgData name="Chandramouli, Devaki (Nokia - US/Dallas)" userId="ebf2a9f8-651b-4485-926f-9d93c0eafbc5" providerId="ADAL" clId="{302DAA8D-5C30-4B0E-A222-CEBEC9BB9E91}" dt="2021-04-25T22:12:33.876" v="0" actId="21"/>
          <ac:spMkLst>
            <pc:docMk/>
            <pc:sldMk cId="3508041192" sldId="2134805477"/>
            <ac:spMk id="4" creationId="{5C8D5078-B8D0-4095-8466-64F7613FE8A6}"/>
          </ac:spMkLst>
        </pc:spChg>
        <pc:spChg chg="add mod">
          <ac:chgData name="Chandramouli, Devaki (Nokia - US/Dallas)" userId="ebf2a9f8-651b-4485-926f-9d93c0eafbc5" providerId="ADAL" clId="{302DAA8D-5C30-4B0E-A222-CEBEC9BB9E91}" dt="2021-04-25T22:12:33.876" v="0" actId="21"/>
          <ac:spMkLst>
            <pc:docMk/>
            <pc:sldMk cId="3508041192" sldId="2134805477"/>
            <ac:spMk id="5" creationId="{481C7413-594F-43A2-92FF-9FE9139DF799}"/>
          </ac:spMkLst>
        </pc:spChg>
      </pc:sldChg>
      <pc:sldChg chg="addSp delSp modSp add mod">
        <pc:chgData name="Chandramouli, Devaki (Nokia - US/Dallas)" userId="ebf2a9f8-651b-4485-926f-9d93c0eafbc5" providerId="ADAL" clId="{302DAA8D-5C30-4B0E-A222-CEBEC9BB9E91}" dt="2021-04-25T23:08:27.380" v="1126" actId="20577"/>
        <pc:sldMkLst>
          <pc:docMk/>
          <pc:sldMk cId="1102584539" sldId="2134805485"/>
        </pc:sldMkLst>
        <pc:spChg chg="mod">
          <ac:chgData name="Chandramouli, Devaki (Nokia - US/Dallas)" userId="ebf2a9f8-651b-4485-926f-9d93c0eafbc5" providerId="ADAL" clId="{302DAA8D-5C30-4B0E-A222-CEBEC9BB9E91}" dt="2021-04-25T22:33:48.793" v="23" actId="20577"/>
          <ac:spMkLst>
            <pc:docMk/>
            <pc:sldMk cId="1102584539" sldId="2134805485"/>
            <ac:spMk id="4" creationId="{BDC7D266-0891-4430-9759-534065AEEEF3}"/>
          </ac:spMkLst>
        </pc:spChg>
        <pc:spChg chg="mod">
          <ac:chgData name="Chandramouli, Devaki (Nokia - US/Dallas)" userId="ebf2a9f8-651b-4485-926f-9d93c0eafbc5" providerId="ADAL" clId="{302DAA8D-5C30-4B0E-A222-CEBEC9BB9E91}" dt="2021-04-25T23:08:27.380" v="1126" actId="20577"/>
          <ac:spMkLst>
            <pc:docMk/>
            <pc:sldMk cId="1102584539" sldId="2134805485"/>
            <ac:spMk id="5" creationId="{A560F786-3A6C-41F0-99EF-DFF4DE7F777C}"/>
          </ac:spMkLst>
        </pc:spChg>
        <pc:spChg chg="add del mod">
          <ac:chgData name="Chandramouli, Devaki (Nokia - US/Dallas)" userId="ebf2a9f8-651b-4485-926f-9d93c0eafbc5" providerId="ADAL" clId="{302DAA8D-5C30-4B0E-A222-CEBEC9BB9E91}" dt="2021-04-25T22:34:42.388" v="81" actId="478"/>
          <ac:spMkLst>
            <pc:docMk/>
            <pc:sldMk cId="1102584539" sldId="2134805485"/>
            <ac:spMk id="6" creationId="{5774C44F-37F8-4F66-BFC7-6381DF2DADEE}"/>
          </ac:spMkLst>
        </pc:spChg>
        <pc:spChg chg="mod">
          <ac:chgData name="Chandramouli, Devaki (Nokia - US/Dallas)" userId="ebf2a9f8-651b-4485-926f-9d93c0eafbc5" providerId="ADAL" clId="{302DAA8D-5C30-4B0E-A222-CEBEC9BB9E91}" dt="2021-04-25T22:34:07.415" v="74" actId="20577"/>
          <ac:spMkLst>
            <pc:docMk/>
            <pc:sldMk cId="1102584539" sldId="2134805485"/>
            <ac:spMk id="7" creationId="{E2D86EB4-B9C0-407F-95B4-60B182E13168}"/>
          </ac:spMkLst>
        </pc:spChg>
        <pc:graphicFrameChg chg="add mod modGraphic">
          <ac:chgData name="Chandramouli, Devaki (Nokia - US/Dallas)" userId="ebf2a9f8-651b-4485-926f-9d93c0eafbc5" providerId="ADAL" clId="{302DAA8D-5C30-4B0E-A222-CEBEC9BB9E91}" dt="2021-04-25T22:36:44.752" v="103" actId="21"/>
          <ac:graphicFrameMkLst>
            <pc:docMk/>
            <pc:sldMk cId="1102584539" sldId="2134805485"/>
            <ac:graphicFrameMk id="3" creationId="{2686BB85-29E1-45D0-8BCC-001802509D30}"/>
          </ac:graphicFrameMkLst>
        </pc:graphicFrameChg>
      </pc:sldChg>
      <pc:sldChg chg="add">
        <pc:chgData name="Chandramouli, Devaki (Nokia - US/Dallas)" userId="ebf2a9f8-651b-4485-926f-9d93c0eafbc5" providerId="ADAL" clId="{302DAA8D-5C30-4B0E-A222-CEBEC9BB9E91}" dt="2021-04-25T22:58:19.152" v="279"/>
        <pc:sldMkLst>
          <pc:docMk/>
          <pc:sldMk cId="3057706006" sldId="2134805486"/>
        </pc:sldMkLst>
      </pc:sldChg>
    </pc:docChg>
  </pc:docChgLst>
  <pc:docChgLst>
    <pc:chgData name="Belling, Thomas (Nokia - DE/Munich)" userId="S::thomas.belling@nokia.com::38e53bf5-7a59-41ec-8bf1-bf611b810166" providerId="AD" clId="Web-{EF4F4E02-9460-2D0D-4373-792C0BD15B1B}"/>
    <pc:docChg chg="modSld">
      <pc:chgData name="Belling, Thomas (Nokia - DE/Munich)" userId="S::thomas.belling@nokia.com::38e53bf5-7a59-41ec-8bf1-bf611b810166" providerId="AD" clId="Web-{EF4F4E02-9460-2D0D-4373-792C0BD15B1B}" dt="2020-03-05T19:12:43.452" v="19" actId="20577"/>
      <pc:docMkLst>
        <pc:docMk/>
      </pc:docMkLst>
    </pc:docChg>
  </pc:docChgLst>
  <pc:docChgLst>
    <pc:chgData name="Thiebaut, Laurent (Nokia - FR/Paris-Saclay)" userId="S::laurent.thiebaut@nokia.com::5a0f83ef-4330-4e17-8828-eca8fc03b257" providerId="AD" clId="Web-{627B8414-3F91-F4F6-2DDC-7C7BE71F18EA}"/>
    <pc:docChg chg="modSld">
      <pc:chgData name="Thiebaut, Laurent (Nokia - FR/Paris-Saclay)" userId="S::laurent.thiebaut@nokia.com::5a0f83ef-4330-4e17-8828-eca8fc03b257" providerId="AD" clId="Web-{627B8414-3F91-F4F6-2DDC-7C7BE71F18EA}" dt="2022-06-10T10:15:50.708" v="6" actId="20577"/>
      <pc:docMkLst>
        <pc:docMk/>
      </pc:docMkLst>
      <pc:sldChg chg="modSp">
        <pc:chgData name="Thiebaut, Laurent (Nokia - FR/Paris-Saclay)" userId="S::laurent.thiebaut@nokia.com::5a0f83ef-4330-4e17-8828-eca8fc03b257" providerId="AD" clId="Web-{627B8414-3F91-F4F6-2DDC-7C7BE71F18EA}" dt="2022-06-10T10:15:50.708" v="6" actId="20577"/>
        <pc:sldMkLst>
          <pc:docMk/>
          <pc:sldMk cId="2165169509" sldId="258"/>
        </pc:sldMkLst>
        <pc:spChg chg="mod">
          <ac:chgData name="Thiebaut, Laurent (Nokia - FR/Paris-Saclay)" userId="S::laurent.thiebaut@nokia.com::5a0f83ef-4330-4e17-8828-eca8fc03b257" providerId="AD" clId="Web-{627B8414-3F91-F4F6-2DDC-7C7BE71F18EA}" dt="2022-06-10T10:15:50.708" v="6" actId="20577"/>
          <ac:spMkLst>
            <pc:docMk/>
            <pc:sldMk cId="2165169509" sldId="258"/>
            <ac:spMk id="3" creationId="{A4E748F3-52F3-4227-86AD-9C50826A6263}"/>
          </ac:spMkLst>
        </pc:spChg>
      </pc:sldChg>
    </pc:docChg>
  </pc:docChgLst>
  <pc:docChgLst>
    <pc:chgData name="Shen, Sherry (NSB - CN/Beijing)" userId="S::sherry.shen@nokia-sbell.com::acf2e5cf-b8b4-4ce6-81c0-0dc594513efe" providerId="AD" clId="Web-{ECC19C87-1531-86E3-7049-08705C2BE1C1}"/>
    <pc:docChg chg="modSld">
      <pc:chgData name="Shen, Sherry (NSB - CN/Beijing)" userId="S::sherry.shen@nokia-sbell.com::acf2e5cf-b8b4-4ce6-81c0-0dc594513efe" providerId="AD" clId="Web-{ECC19C87-1531-86E3-7049-08705C2BE1C1}" dt="2020-06-23T08:07:32.736" v="6" actId="20577"/>
      <pc:docMkLst>
        <pc:docMk/>
      </pc:docMkLst>
      <pc:sldChg chg="modSp">
        <pc:chgData name="Shen, Sherry (NSB - CN/Beijing)" userId="S::sherry.shen@nokia-sbell.com::acf2e5cf-b8b4-4ce6-81c0-0dc594513efe" providerId="AD" clId="Web-{ECC19C87-1531-86E3-7049-08705C2BE1C1}" dt="2020-06-23T08:05:54.002" v="4" actId="20577"/>
        <pc:sldMkLst>
          <pc:docMk/>
          <pc:sldMk cId="2153956218" sldId="360"/>
        </pc:sldMkLst>
        <pc:spChg chg="mod">
          <ac:chgData name="Shen, Sherry (NSB - CN/Beijing)" userId="S::sherry.shen@nokia-sbell.com::acf2e5cf-b8b4-4ce6-81c0-0dc594513efe" providerId="AD" clId="Web-{ECC19C87-1531-86E3-7049-08705C2BE1C1}" dt="2020-06-23T08:05:54.002" v="4" actId="20577"/>
          <ac:spMkLst>
            <pc:docMk/>
            <pc:sldMk cId="2153956218" sldId="360"/>
            <ac:spMk id="4" creationId="{5C8D5078-B8D0-4095-8466-64F7613FE8A6}"/>
          </ac:spMkLst>
        </pc:spChg>
      </pc:sldChg>
    </pc:docChg>
  </pc:docChgLst>
  <pc:docChgLst>
    <pc:chgData name="Lair, Yannick (Nokia - FR/Paris-Saclay)" userId="e0601b81-de45-4b0d-b7c3-b06e9080ce2c" providerId="ADAL" clId="{73372F4B-1448-4C4F-857D-422FEBED8ABB}"/>
    <pc:docChg chg="custSel addSld delSld modSld">
      <pc:chgData name="Lair, Yannick (Nokia - FR/Paris-Saclay)" userId="e0601b81-de45-4b0d-b7c3-b06e9080ce2c" providerId="ADAL" clId="{73372F4B-1448-4C4F-857D-422FEBED8ABB}" dt="2021-04-26T19:13:30.378" v="149"/>
      <pc:docMkLst>
        <pc:docMk/>
      </pc:docMkLst>
      <pc:sldChg chg="add del modTransition">
        <pc:chgData name="Lair, Yannick (Nokia - FR/Paris-Saclay)" userId="e0601b81-de45-4b0d-b7c3-b06e9080ce2c" providerId="ADAL" clId="{73372F4B-1448-4C4F-857D-422FEBED8ABB}" dt="2021-04-26T19:13:28.125" v="148"/>
        <pc:sldMkLst>
          <pc:docMk/>
          <pc:sldMk cId="889392984" sldId="5616"/>
        </pc:sldMkLst>
      </pc:sldChg>
      <pc:sldChg chg="modSp mod">
        <pc:chgData name="Lair, Yannick (Nokia - FR/Paris-Saclay)" userId="e0601b81-de45-4b0d-b7c3-b06e9080ce2c" providerId="ADAL" clId="{73372F4B-1448-4C4F-857D-422FEBED8ABB}" dt="2021-04-26T16:06:57.283" v="144" actId="108"/>
        <pc:sldMkLst>
          <pc:docMk/>
          <pc:sldMk cId="1080060686" sldId="2134805415"/>
        </pc:sldMkLst>
        <pc:spChg chg="mod">
          <ac:chgData name="Lair, Yannick (Nokia - FR/Paris-Saclay)" userId="e0601b81-de45-4b0d-b7c3-b06e9080ce2c" providerId="ADAL" clId="{73372F4B-1448-4C4F-857D-422FEBED8ABB}" dt="2021-04-26T16:06:57.283" v="144" actId="108"/>
          <ac:spMkLst>
            <pc:docMk/>
            <pc:sldMk cId="1080060686" sldId="2134805415"/>
            <ac:spMk id="4" creationId="{5C8D5078-B8D0-4095-8466-64F7613FE8A6}"/>
          </ac:spMkLst>
        </pc:spChg>
      </pc:sldChg>
      <pc:sldChg chg="add del modTransition">
        <pc:chgData name="Lair, Yannick (Nokia - FR/Paris-Saclay)" userId="e0601b81-de45-4b0d-b7c3-b06e9080ce2c" providerId="ADAL" clId="{73372F4B-1448-4C4F-857D-422FEBED8ABB}" dt="2021-04-26T19:13:30.378" v="149"/>
        <pc:sldMkLst>
          <pc:docMk/>
          <pc:sldMk cId="3523182284" sldId="2134805516"/>
        </pc:sldMkLst>
      </pc:sldChg>
    </pc:docChg>
  </pc:docChgLst>
  <pc:docChgLst>
    <pc:chgData name="Casati, Alessio (Nokia - GB)" userId="6f050b0a-bf61-49f1-93be-076af52cf2e7" providerId="ADAL" clId="{DC569110-129A-49A9-A4B0-A9E0F2205094}"/>
    <pc:docChg chg="addSld delSld modSld">
      <pc:chgData name="Casati, Alessio (Nokia - GB)" userId="6f050b0a-bf61-49f1-93be-076af52cf2e7" providerId="ADAL" clId="{DC569110-129A-49A9-A4B0-A9E0F2205094}" dt="2022-03-07T11:48:03.135" v="2" actId="47"/>
      <pc:docMkLst>
        <pc:docMk/>
      </pc:docMkLst>
      <pc:sldChg chg="del">
        <pc:chgData name="Casati, Alessio (Nokia - GB)" userId="6f050b0a-bf61-49f1-93be-076af52cf2e7" providerId="ADAL" clId="{DC569110-129A-49A9-A4B0-A9E0F2205094}" dt="2022-03-07T11:48:03.135" v="2" actId="47"/>
        <pc:sldMkLst>
          <pc:docMk/>
          <pc:sldMk cId="2133542744" sldId="2134805585"/>
        </pc:sldMkLst>
      </pc:sldChg>
      <pc:sldChg chg="del">
        <pc:chgData name="Casati, Alessio (Nokia - GB)" userId="6f050b0a-bf61-49f1-93be-076af52cf2e7" providerId="ADAL" clId="{DC569110-129A-49A9-A4B0-A9E0F2205094}" dt="2022-03-07T11:48:02.517" v="1" actId="47"/>
        <pc:sldMkLst>
          <pc:docMk/>
          <pc:sldMk cId="1148163688" sldId="2134805589"/>
        </pc:sldMkLst>
      </pc:sldChg>
      <pc:sldChg chg="add">
        <pc:chgData name="Casati, Alessio (Nokia - GB)" userId="6f050b0a-bf61-49f1-93be-076af52cf2e7" providerId="ADAL" clId="{DC569110-129A-49A9-A4B0-A9E0F2205094}" dt="2022-03-07T11:47:56.701" v="0"/>
        <pc:sldMkLst>
          <pc:docMk/>
          <pc:sldMk cId="1762226801" sldId="2146846817"/>
        </pc:sldMkLst>
      </pc:sldChg>
      <pc:sldChg chg="add">
        <pc:chgData name="Casati, Alessio (Nokia - GB)" userId="6f050b0a-bf61-49f1-93be-076af52cf2e7" providerId="ADAL" clId="{DC569110-129A-49A9-A4B0-A9E0F2205094}" dt="2022-03-07T11:47:56.701" v="0"/>
        <pc:sldMkLst>
          <pc:docMk/>
          <pc:sldMk cId="1638951385" sldId="2146846818"/>
        </pc:sldMkLst>
      </pc:sldChg>
    </pc:docChg>
  </pc:docChgLst>
  <pc:docChgLst>
    <pc:chgData name="Cai, Simon (NSB - CN/Chengdu)" userId="37152ebf-cb41-4a71-820f-4428dc623117" providerId="ADAL" clId="{C4D77140-31D4-4C75-9B71-9EC371351EB5}"/>
    <pc:docChg chg="undo custSel addSld delSld modSld">
      <pc:chgData name="Cai, Simon (NSB - CN/Chengdu)" userId="37152ebf-cb41-4a71-820f-4428dc623117" providerId="ADAL" clId="{C4D77140-31D4-4C75-9B71-9EC371351EB5}" dt="2022-09-06T08:10:27.998" v="405" actId="113"/>
      <pc:docMkLst>
        <pc:docMk/>
      </pc:docMkLst>
      <pc:sldChg chg="modSp mod">
        <pc:chgData name="Cai, Simon (NSB - CN/Chengdu)" userId="37152ebf-cb41-4a71-820f-4428dc623117" providerId="ADAL" clId="{C4D77140-31D4-4C75-9B71-9EC371351EB5}" dt="2022-09-06T08:10:27.998" v="405" actId="113"/>
        <pc:sldMkLst>
          <pc:docMk/>
          <pc:sldMk cId="3808526133" sldId="2146846805"/>
        </pc:sldMkLst>
        <pc:spChg chg="mod">
          <ac:chgData name="Cai, Simon (NSB - CN/Chengdu)" userId="37152ebf-cb41-4a71-820f-4428dc623117" providerId="ADAL" clId="{C4D77140-31D4-4C75-9B71-9EC371351EB5}" dt="2022-09-06T07:12:50.209" v="16" actId="20577"/>
          <ac:spMkLst>
            <pc:docMk/>
            <pc:sldMk cId="3808526133" sldId="2146846805"/>
            <ac:spMk id="2" creationId="{5E8A6A78-C256-4347-816E-8CF6723DC2BC}"/>
          </ac:spMkLst>
        </pc:spChg>
        <pc:spChg chg="mod">
          <ac:chgData name="Cai, Simon (NSB - CN/Chengdu)" userId="37152ebf-cb41-4a71-820f-4428dc623117" providerId="ADAL" clId="{C4D77140-31D4-4C75-9B71-9EC371351EB5}" dt="2022-09-06T07:12:58.142" v="24" actId="20577"/>
          <ac:spMkLst>
            <pc:docMk/>
            <pc:sldMk cId="3808526133" sldId="2146846805"/>
            <ac:spMk id="3" creationId="{09574804-C02D-4C61-91C5-5B097BB8F073}"/>
          </ac:spMkLst>
        </pc:spChg>
        <pc:spChg chg="mod">
          <ac:chgData name="Cai, Simon (NSB - CN/Chengdu)" userId="37152ebf-cb41-4a71-820f-4428dc623117" providerId="ADAL" clId="{C4D77140-31D4-4C75-9B71-9EC371351EB5}" dt="2022-09-06T08:10:27.998" v="405" actId="113"/>
          <ac:spMkLst>
            <pc:docMk/>
            <pc:sldMk cId="3808526133" sldId="2146846805"/>
            <ac:spMk id="4" creationId="{EE8F8129-6DFE-4C88-8770-3B754B94D0F9}"/>
          </ac:spMkLst>
        </pc:spChg>
      </pc:sldChg>
      <pc:sldChg chg="modSp mod">
        <pc:chgData name="Cai, Simon (NSB - CN/Chengdu)" userId="37152ebf-cb41-4a71-820f-4428dc623117" providerId="ADAL" clId="{C4D77140-31D4-4C75-9B71-9EC371351EB5}" dt="2022-09-06T08:06:59.269" v="280" actId="27636"/>
        <pc:sldMkLst>
          <pc:docMk/>
          <pc:sldMk cId="1762226801" sldId="2146846817"/>
        </pc:sldMkLst>
        <pc:spChg chg="mod">
          <ac:chgData name="Cai, Simon (NSB - CN/Chengdu)" userId="37152ebf-cb41-4a71-820f-4428dc623117" providerId="ADAL" clId="{C4D77140-31D4-4C75-9B71-9EC371351EB5}" dt="2022-09-06T08:06:59.269" v="280" actId="27636"/>
          <ac:spMkLst>
            <pc:docMk/>
            <pc:sldMk cId="1762226801" sldId="2146846817"/>
            <ac:spMk id="4" creationId="{CD72C33D-DF40-4601-AF02-8DFD5A6EA958}"/>
          </ac:spMkLst>
        </pc:spChg>
      </pc:sldChg>
      <pc:sldChg chg="modSp mod">
        <pc:chgData name="Cai, Simon (NSB - CN/Chengdu)" userId="37152ebf-cb41-4a71-820f-4428dc623117" providerId="ADAL" clId="{C4D77140-31D4-4C75-9B71-9EC371351EB5}" dt="2022-09-06T07:54:13.802" v="87"/>
        <pc:sldMkLst>
          <pc:docMk/>
          <pc:sldMk cId="61712652" sldId="2146846872"/>
        </pc:sldMkLst>
        <pc:spChg chg="mod">
          <ac:chgData name="Cai, Simon (NSB - CN/Chengdu)" userId="37152ebf-cb41-4a71-820f-4428dc623117" providerId="ADAL" clId="{C4D77140-31D4-4C75-9B71-9EC371351EB5}" dt="2022-09-06T07:54:13.802" v="87"/>
          <ac:spMkLst>
            <pc:docMk/>
            <pc:sldMk cId="61712652" sldId="2146846872"/>
            <ac:spMk id="4" creationId="{D100C8F9-2BFE-443C-8318-5E6AE3C3214D}"/>
          </ac:spMkLst>
        </pc:spChg>
      </pc:sldChg>
      <pc:sldChg chg="modSp mod">
        <pc:chgData name="Cai, Simon (NSB - CN/Chengdu)" userId="37152ebf-cb41-4a71-820f-4428dc623117" providerId="ADAL" clId="{C4D77140-31D4-4C75-9B71-9EC371351EB5}" dt="2022-09-06T07:55:30.405" v="113" actId="27636"/>
        <pc:sldMkLst>
          <pc:docMk/>
          <pc:sldMk cId="3299742882" sldId="2146846873"/>
        </pc:sldMkLst>
        <pc:spChg chg="mod">
          <ac:chgData name="Cai, Simon (NSB - CN/Chengdu)" userId="37152ebf-cb41-4a71-820f-4428dc623117" providerId="ADAL" clId="{C4D77140-31D4-4C75-9B71-9EC371351EB5}" dt="2022-09-06T07:54:48.722" v="95" actId="21"/>
          <ac:spMkLst>
            <pc:docMk/>
            <pc:sldMk cId="3299742882" sldId="2146846873"/>
            <ac:spMk id="3" creationId="{6814E155-93FB-44D3-B049-BD3877DA8E71}"/>
          </ac:spMkLst>
        </pc:spChg>
        <pc:spChg chg="mod">
          <ac:chgData name="Cai, Simon (NSB - CN/Chengdu)" userId="37152ebf-cb41-4a71-820f-4428dc623117" providerId="ADAL" clId="{C4D77140-31D4-4C75-9B71-9EC371351EB5}" dt="2022-09-06T07:55:30.405" v="113" actId="27636"/>
          <ac:spMkLst>
            <pc:docMk/>
            <pc:sldMk cId="3299742882" sldId="2146846873"/>
            <ac:spMk id="4" creationId="{4AF5DF34-1296-49E0-AC81-608F81EB5F30}"/>
          </ac:spMkLst>
        </pc:spChg>
      </pc:sldChg>
      <pc:sldChg chg="del">
        <pc:chgData name="Cai, Simon (NSB - CN/Chengdu)" userId="37152ebf-cb41-4a71-820f-4428dc623117" providerId="ADAL" clId="{C4D77140-31D4-4C75-9B71-9EC371351EB5}" dt="2022-09-06T07:55:39.237" v="114" actId="2696"/>
        <pc:sldMkLst>
          <pc:docMk/>
          <pc:sldMk cId="2835258899" sldId="2146846874"/>
        </pc:sldMkLst>
      </pc:sldChg>
      <pc:sldChg chg="modSp mod">
        <pc:chgData name="Cai, Simon (NSB - CN/Chengdu)" userId="37152ebf-cb41-4a71-820f-4428dc623117" providerId="ADAL" clId="{C4D77140-31D4-4C75-9B71-9EC371351EB5}" dt="2022-09-06T07:55:52.535" v="116" actId="27636"/>
        <pc:sldMkLst>
          <pc:docMk/>
          <pc:sldMk cId="3039704943" sldId="2146846875"/>
        </pc:sldMkLst>
        <pc:spChg chg="mod">
          <ac:chgData name="Cai, Simon (NSB - CN/Chengdu)" userId="37152ebf-cb41-4a71-820f-4428dc623117" providerId="ADAL" clId="{C4D77140-31D4-4C75-9B71-9EC371351EB5}" dt="2022-09-06T07:55:52.535" v="116" actId="27636"/>
          <ac:spMkLst>
            <pc:docMk/>
            <pc:sldMk cId="3039704943" sldId="2146846875"/>
            <ac:spMk id="4" creationId="{37FBDF09-321D-4847-BEAD-E7621773D58A}"/>
          </ac:spMkLst>
        </pc:spChg>
      </pc:sldChg>
      <pc:sldChg chg="modSp mod">
        <pc:chgData name="Cai, Simon (NSB - CN/Chengdu)" userId="37152ebf-cb41-4a71-820f-4428dc623117" providerId="ADAL" clId="{C4D77140-31D4-4C75-9B71-9EC371351EB5}" dt="2022-09-06T07:57:47.068" v="147" actId="27636"/>
        <pc:sldMkLst>
          <pc:docMk/>
          <pc:sldMk cId="2351449669" sldId="2146846876"/>
        </pc:sldMkLst>
        <pc:spChg chg="mod">
          <ac:chgData name="Cai, Simon (NSB - CN/Chengdu)" userId="37152ebf-cb41-4a71-820f-4428dc623117" providerId="ADAL" clId="{C4D77140-31D4-4C75-9B71-9EC371351EB5}" dt="2022-09-06T07:57:47.068" v="147" actId="27636"/>
          <ac:spMkLst>
            <pc:docMk/>
            <pc:sldMk cId="2351449669" sldId="2146846876"/>
            <ac:spMk id="4" creationId="{FF754E35-9889-4784-8D0F-792889EE352A}"/>
          </ac:spMkLst>
        </pc:spChg>
      </pc:sldChg>
      <pc:sldChg chg="modSp mod">
        <pc:chgData name="Cai, Simon (NSB - CN/Chengdu)" userId="37152ebf-cb41-4a71-820f-4428dc623117" providerId="ADAL" clId="{C4D77140-31D4-4C75-9B71-9EC371351EB5}" dt="2022-09-06T08:00:05.317" v="216" actId="27636"/>
        <pc:sldMkLst>
          <pc:docMk/>
          <pc:sldMk cId="3409453194" sldId="2146846877"/>
        </pc:sldMkLst>
        <pc:spChg chg="mod">
          <ac:chgData name="Cai, Simon (NSB - CN/Chengdu)" userId="37152ebf-cb41-4a71-820f-4428dc623117" providerId="ADAL" clId="{C4D77140-31D4-4C75-9B71-9EC371351EB5}" dt="2022-09-06T07:59:48.402" v="214" actId="20577"/>
          <ac:spMkLst>
            <pc:docMk/>
            <pc:sldMk cId="3409453194" sldId="2146846877"/>
            <ac:spMk id="3" creationId="{DD6A8B7D-4DE7-4527-8143-A998E9F13925}"/>
          </ac:spMkLst>
        </pc:spChg>
        <pc:spChg chg="mod">
          <ac:chgData name="Cai, Simon (NSB - CN/Chengdu)" userId="37152ebf-cb41-4a71-820f-4428dc623117" providerId="ADAL" clId="{C4D77140-31D4-4C75-9B71-9EC371351EB5}" dt="2022-09-06T08:00:05.317" v="216" actId="27636"/>
          <ac:spMkLst>
            <pc:docMk/>
            <pc:sldMk cId="3409453194" sldId="2146846877"/>
            <ac:spMk id="4" creationId="{4CE9BCDE-B7C4-4582-BC8C-7323DD680549}"/>
          </ac:spMkLst>
        </pc:spChg>
      </pc:sldChg>
      <pc:sldChg chg="addSp delSp modSp del mod">
        <pc:chgData name="Cai, Simon (NSB - CN/Chengdu)" userId="37152ebf-cb41-4a71-820f-4428dc623117" providerId="ADAL" clId="{C4D77140-31D4-4C75-9B71-9EC371351EB5}" dt="2022-09-06T08:02:47.863" v="250" actId="2696"/>
        <pc:sldMkLst>
          <pc:docMk/>
          <pc:sldMk cId="1404189221" sldId="2146846878"/>
        </pc:sldMkLst>
        <pc:spChg chg="mod">
          <ac:chgData name="Cai, Simon (NSB - CN/Chengdu)" userId="37152ebf-cb41-4a71-820f-4428dc623117" providerId="ADAL" clId="{C4D77140-31D4-4C75-9B71-9EC371351EB5}" dt="2022-09-06T08:02:21.280" v="237" actId="20577"/>
          <ac:spMkLst>
            <pc:docMk/>
            <pc:sldMk cId="1404189221" sldId="2146846878"/>
            <ac:spMk id="2" creationId="{084E0E20-8FE6-4781-B6C0-7E6762E27EFD}"/>
          </ac:spMkLst>
        </pc:spChg>
        <pc:spChg chg="mod">
          <ac:chgData name="Cai, Simon (NSB - CN/Chengdu)" userId="37152ebf-cb41-4a71-820f-4428dc623117" providerId="ADAL" clId="{C4D77140-31D4-4C75-9B71-9EC371351EB5}" dt="2022-09-06T08:01:55.304" v="230" actId="6549"/>
          <ac:spMkLst>
            <pc:docMk/>
            <pc:sldMk cId="1404189221" sldId="2146846878"/>
            <ac:spMk id="3" creationId="{14FE9E95-DD99-4749-932D-9B4556FB0B27}"/>
          </ac:spMkLst>
        </pc:spChg>
        <pc:spChg chg="add del">
          <ac:chgData name="Cai, Simon (NSB - CN/Chengdu)" userId="37152ebf-cb41-4a71-820f-4428dc623117" providerId="ADAL" clId="{C4D77140-31D4-4C75-9B71-9EC371351EB5}" dt="2022-09-06T08:02:25.618" v="239" actId="22"/>
          <ac:spMkLst>
            <pc:docMk/>
            <pc:sldMk cId="1404189221" sldId="2146846878"/>
            <ac:spMk id="6" creationId="{D2F43BA8-D9CC-48EE-B162-937E4C311B3E}"/>
          </ac:spMkLst>
        </pc:spChg>
      </pc:sldChg>
      <pc:sldChg chg="modSp new mod">
        <pc:chgData name="Cai, Simon (NSB - CN/Chengdu)" userId="37152ebf-cb41-4a71-820f-4428dc623117" providerId="ADAL" clId="{C4D77140-31D4-4C75-9B71-9EC371351EB5}" dt="2022-09-06T07:57:28.156" v="145" actId="20577"/>
        <pc:sldMkLst>
          <pc:docMk/>
          <pc:sldMk cId="1664876834" sldId="2146846911"/>
        </pc:sldMkLst>
        <pc:spChg chg="mod">
          <ac:chgData name="Cai, Simon (NSB - CN/Chengdu)" userId="37152ebf-cb41-4a71-820f-4428dc623117" providerId="ADAL" clId="{C4D77140-31D4-4C75-9B71-9EC371351EB5}" dt="2022-09-06T07:57:28.156" v="145" actId="20577"/>
          <ac:spMkLst>
            <pc:docMk/>
            <pc:sldMk cId="1664876834" sldId="2146846911"/>
            <ac:spMk id="3" creationId="{31CF7797-1A7B-4F3A-A97D-28A17DA73D72}"/>
          </ac:spMkLst>
        </pc:spChg>
        <pc:spChg chg="mod">
          <ac:chgData name="Cai, Simon (NSB - CN/Chengdu)" userId="37152ebf-cb41-4a71-820f-4428dc623117" providerId="ADAL" clId="{C4D77140-31D4-4C75-9B71-9EC371351EB5}" dt="2022-09-06T07:57:23.793" v="138" actId="27636"/>
          <ac:spMkLst>
            <pc:docMk/>
            <pc:sldMk cId="1664876834" sldId="2146846911"/>
            <ac:spMk id="4" creationId="{6964966C-21C9-4F78-9C10-39CE0B070A82}"/>
          </ac:spMkLst>
        </pc:spChg>
      </pc:sldChg>
      <pc:sldChg chg="modSp new mod">
        <pc:chgData name="Cai, Simon (NSB - CN/Chengdu)" userId="37152ebf-cb41-4a71-820f-4428dc623117" providerId="ADAL" clId="{C4D77140-31D4-4C75-9B71-9EC371351EB5}" dt="2022-09-06T07:58:23.910" v="153" actId="27636"/>
        <pc:sldMkLst>
          <pc:docMk/>
          <pc:sldMk cId="1547245855" sldId="2146846912"/>
        </pc:sldMkLst>
        <pc:spChg chg="mod">
          <ac:chgData name="Cai, Simon (NSB - CN/Chengdu)" userId="37152ebf-cb41-4a71-820f-4428dc623117" providerId="ADAL" clId="{C4D77140-31D4-4C75-9B71-9EC371351EB5}" dt="2022-09-06T07:58:11.048" v="151" actId="20577"/>
          <ac:spMkLst>
            <pc:docMk/>
            <pc:sldMk cId="1547245855" sldId="2146846912"/>
            <ac:spMk id="3" creationId="{1FE63F61-B5A9-4185-8240-00578338C8F6}"/>
          </ac:spMkLst>
        </pc:spChg>
        <pc:spChg chg="mod">
          <ac:chgData name="Cai, Simon (NSB - CN/Chengdu)" userId="37152ebf-cb41-4a71-820f-4428dc623117" providerId="ADAL" clId="{C4D77140-31D4-4C75-9B71-9EC371351EB5}" dt="2022-09-06T07:58:23.910" v="153" actId="27636"/>
          <ac:spMkLst>
            <pc:docMk/>
            <pc:sldMk cId="1547245855" sldId="2146846912"/>
            <ac:spMk id="4" creationId="{5F5AF1E4-E323-41CA-8D09-AAE922B546B4}"/>
          </ac:spMkLst>
        </pc:spChg>
      </pc:sldChg>
      <pc:sldChg chg="modSp new mod">
        <pc:chgData name="Cai, Simon (NSB - CN/Chengdu)" userId="37152ebf-cb41-4a71-820f-4428dc623117" providerId="ADAL" clId="{C4D77140-31D4-4C75-9B71-9EC371351EB5}" dt="2022-09-06T07:59:36.050" v="179" actId="27636"/>
        <pc:sldMkLst>
          <pc:docMk/>
          <pc:sldMk cId="1864093619" sldId="2146846913"/>
        </pc:sldMkLst>
        <pc:spChg chg="mod">
          <ac:chgData name="Cai, Simon (NSB - CN/Chengdu)" userId="37152ebf-cb41-4a71-820f-4428dc623117" providerId="ADAL" clId="{C4D77140-31D4-4C75-9B71-9EC371351EB5}" dt="2022-09-06T07:59:15.928" v="175" actId="20577"/>
          <ac:spMkLst>
            <pc:docMk/>
            <pc:sldMk cId="1864093619" sldId="2146846913"/>
            <ac:spMk id="3" creationId="{7E830D43-167A-44C1-BD20-C90C8AFF3DD4}"/>
          </ac:spMkLst>
        </pc:spChg>
        <pc:spChg chg="mod">
          <ac:chgData name="Cai, Simon (NSB - CN/Chengdu)" userId="37152ebf-cb41-4a71-820f-4428dc623117" providerId="ADAL" clId="{C4D77140-31D4-4C75-9B71-9EC371351EB5}" dt="2022-09-06T07:59:36.050" v="179" actId="27636"/>
          <ac:spMkLst>
            <pc:docMk/>
            <pc:sldMk cId="1864093619" sldId="2146846913"/>
            <ac:spMk id="4" creationId="{8B54FA7D-E035-4A25-84DB-9D4E1C4F8489}"/>
          </ac:spMkLst>
        </pc:spChg>
      </pc:sldChg>
      <pc:sldChg chg="modSp new mod">
        <pc:chgData name="Cai, Simon (NSB - CN/Chengdu)" userId="37152ebf-cb41-4a71-820f-4428dc623117" providerId="ADAL" clId="{C4D77140-31D4-4C75-9B71-9EC371351EB5}" dt="2022-09-06T08:04:55.556" v="260" actId="20577"/>
        <pc:sldMkLst>
          <pc:docMk/>
          <pc:sldMk cId="2057767730" sldId="2146846914"/>
        </pc:sldMkLst>
        <pc:spChg chg="mod">
          <ac:chgData name="Cai, Simon (NSB - CN/Chengdu)" userId="37152ebf-cb41-4a71-820f-4428dc623117" providerId="ADAL" clId="{C4D77140-31D4-4C75-9B71-9EC371351EB5}" dt="2022-09-06T08:02:42.108" v="249" actId="20577"/>
          <ac:spMkLst>
            <pc:docMk/>
            <pc:sldMk cId="2057767730" sldId="2146846914"/>
            <ac:spMk id="3" creationId="{09EC92F5-3E2A-454F-AAFA-11C06ED57944}"/>
          </ac:spMkLst>
        </pc:spChg>
        <pc:spChg chg="mod">
          <ac:chgData name="Cai, Simon (NSB - CN/Chengdu)" userId="37152ebf-cb41-4a71-820f-4428dc623117" providerId="ADAL" clId="{C4D77140-31D4-4C75-9B71-9EC371351EB5}" dt="2022-09-06T08:04:55.556" v="260" actId="20577"/>
          <ac:spMkLst>
            <pc:docMk/>
            <pc:sldMk cId="2057767730" sldId="2146846914"/>
            <ac:spMk id="4" creationId="{34331036-16DA-4F95-9B50-76505009B08A}"/>
          </ac:spMkLst>
        </pc:spChg>
      </pc:sldChg>
      <pc:sldChg chg="addSp modSp new mod">
        <pc:chgData name="Cai, Simon (NSB - CN/Chengdu)" userId="37152ebf-cb41-4a71-820f-4428dc623117" providerId="ADAL" clId="{C4D77140-31D4-4C75-9B71-9EC371351EB5}" dt="2022-09-06T08:07:40.330" v="300" actId="1035"/>
        <pc:sldMkLst>
          <pc:docMk/>
          <pc:sldMk cId="51186039" sldId="2146846915"/>
        </pc:sldMkLst>
        <pc:spChg chg="mod">
          <ac:chgData name="Cai, Simon (NSB - CN/Chengdu)" userId="37152ebf-cb41-4a71-820f-4428dc623117" providerId="ADAL" clId="{C4D77140-31D4-4C75-9B71-9EC371351EB5}" dt="2022-09-06T08:05:49.663" v="272" actId="20577"/>
          <ac:spMkLst>
            <pc:docMk/>
            <pc:sldMk cId="51186039" sldId="2146846915"/>
            <ac:spMk id="3" creationId="{740B4893-628C-4B3F-AD46-F9B2F073E0E6}"/>
          </ac:spMkLst>
        </pc:spChg>
        <pc:spChg chg="mod">
          <ac:chgData name="Cai, Simon (NSB - CN/Chengdu)" userId="37152ebf-cb41-4a71-820f-4428dc623117" providerId="ADAL" clId="{C4D77140-31D4-4C75-9B71-9EC371351EB5}" dt="2022-09-06T08:07:40.330" v="300" actId="1035"/>
          <ac:spMkLst>
            <pc:docMk/>
            <pc:sldMk cId="51186039" sldId="2146846915"/>
            <ac:spMk id="4" creationId="{B0FBA6D4-6FDB-4C36-BDF7-E7ED5BE42811}"/>
          </ac:spMkLst>
        </pc:spChg>
        <pc:graphicFrameChg chg="add mod modGraphic">
          <ac:chgData name="Cai, Simon (NSB - CN/Chengdu)" userId="37152ebf-cb41-4a71-820f-4428dc623117" providerId="ADAL" clId="{C4D77140-31D4-4C75-9B71-9EC371351EB5}" dt="2022-09-06T08:07:36.526" v="291" actId="1076"/>
          <ac:graphicFrameMkLst>
            <pc:docMk/>
            <pc:sldMk cId="51186039" sldId="2146846915"/>
            <ac:graphicFrameMk id="5" creationId="{FCADFCCF-3123-4CF4-B38C-1EDBE5F93B66}"/>
          </ac:graphicFrameMkLst>
        </pc:graphicFrameChg>
      </pc:sldChg>
      <pc:sldChg chg="modSp new mod">
        <pc:chgData name="Cai, Simon (NSB - CN/Chengdu)" userId="37152ebf-cb41-4a71-820f-4428dc623117" providerId="ADAL" clId="{C4D77140-31D4-4C75-9B71-9EC371351EB5}" dt="2022-09-06T08:08:09.844" v="306" actId="27636"/>
        <pc:sldMkLst>
          <pc:docMk/>
          <pc:sldMk cId="3531694244" sldId="2146846916"/>
        </pc:sldMkLst>
        <pc:spChg chg="mod">
          <ac:chgData name="Cai, Simon (NSB - CN/Chengdu)" userId="37152ebf-cb41-4a71-820f-4428dc623117" providerId="ADAL" clId="{C4D77140-31D4-4C75-9B71-9EC371351EB5}" dt="2022-09-06T08:08:07.698" v="304" actId="20577"/>
          <ac:spMkLst>
            <pc:docMk/>
            <pc:sldMk cId="3531694244" sldId="2146846916"/>
            <ac:spMk id="3" creationId="{79E872E0-7691-4C71-A9C5-52FF96CED43B}"/>
          </ac:spMkLst>
        </pc:spChg>
        <pc:spChg chg="mod">
          <ac:chgData name="Cai, Simon (NSB - CN/Chengdu)" userId="37152ebf-cb41-4a71-820f-4428dc623117" providerId="ADAL" clId="{C4D77140-31D4-4C75-9B71-9EC371351EB5}" dt="2022-09-06T08:08:09.844" v="306" actId="27636"/>
          <ac:spMkLst>
            <pc:docMk/>
            <pc:sldMk cId="3531694244" sldId="2146846916"/>
            <ac:spMk id="4" creationId="{7BF96647-1B38-4612-B5A7-09A341730C41}"/>
          </ac:spMkLst>
        </pc:spChg>
      </pc:sldChg>
      <pc:sldChg chg="addSp delSp modSp new mod">
        <pc:chgData name="Cai, Simon (NSB - CN/Chengdu)" userId="37152ebf-cb41-4a71-820f-4428dc623117" providerId="ADAL" clId="{C4D77140-31D4-4C75-9B71-9EC371351EB5}" dt="2022-09-06T08:09:43.573" v="392" actId="404"/>
        <pc:sldMkLst>
          <pc:docMk/>
          <pc:sldMk cId="166719520" sldId="2146846917"/>
        </pc:sldMkLst>
        <pc:spChg chg="mod">
          <ac:chgData name="Cai, Simon (NSB - CN/Chengdu)" userId="37152ebf-cb41-4a71-820f-4428dc623117" providerId="ADAL" clId="{C4D77140-31D4-4C75-9B71-9EC371351EB5}" dt="2022-09-06T08:09:43.573" v="392" actId="404"/>
          <ac:spMkLst>
            <pc:docMk/>
            <pc:sldMk cId="166719520" sldId="2146846917"/>
            <ac:spMk id="2" creationId="{4C4E501E-9DDF-4C06-8114-2B6E055B2011}"/>
          </ac:spMkLst>
        </pc:spChg>
        <pc:spChg chg="mod">
          <ac:chgData name="Cai, Simon (NSB - CN/Chengdu)" userId="37152ebf-cb41-4a71-820f-4428dc623117" providerId="ADAL" clId="{C4D77140-31D4-4C75-9B71-9EC371351EB5}" dt="2022-09-06T08:08:22.099" v="342" actId="20577"/>
          <ac:spMkLst>
            <pc:docMk/>
            <pc:sldMk cId="166719520" sldId="2146846917"/>
            <ac:spMk id="3" creationId="{D8AA7E16-602E-4B6C-9874-4BC012A247EA}"/>
          </ac:spMkLst>
        </pc:spChg>
        <pc:spChg chg="add del">
          <ac:chgData name="Cai, Simon (NSB - CN/Chengdu)" userId="37152ebf-cb41-4a71-820f-4428dc623117" providerId="ADAL" clId="{C4D77140-31D4-4C75-9B71-9EC371351EB5}" dt="2022-09-06T08:08:43.248" v="345" actId="478"/>
          <ac:spMkLst>
            <pc:docMk/>
            <pc:sldMk cId="166719520" sldId="2146846917"/>
            <ac:spMk id="4" creationId="{0080F7D1-FC96-4BCB-88CB-B1FD6F14F6F8}"/>
          </ac:spMkLst>
        </pc:spChg>
        <pc:spChg chg="add del mod">
          <ac:chgData name="Cai, Simon (NSB - CN/Chengdu)" userId="37152ebf-cb41-4a71-820f-4428dc623117" providerId="ADAL" clId="{C4D77140-31D4-4C75-9B71-9EC371351EB5}" dt="2022-09-06T08:08:40.678" v="344"/>
          <ac:spMkLst>
            <pc:docMk/>
            <pc:sldMk cId="166719520" sldId="2146846917"/>
            <ac:spMk id="6" creationId="{84A8D9E3-D615-40AA-85EC-718484DA0546}"/>
          </ac:spMkLst>
        </pc:spChg>
        <pc:spChg chg="add del mod">
          <ac:chgData name="Cai, Simon (NSB - CN/Chengdu)" userId="37152ebf-cb41-4a71-820f-4428dc623117" providerId="ADAL" clId="{C4D77140-31D4-4C75-9B71-9EC371351EB5}" dt="2022-09-06T08:09:34.951" v="390" actId="478"/>
          <ac:spMkLst>
            <pc:docMk/>
            <pc:sldMk cId="166719520" sldId="2146846917"/>
            <ac:spMk id="8" creationId="{335C7320-2861-44AE-839E-758C254E2E77}"/>
          </ac:spMkLst>
        </pc:spChg>
        <pc:graphicFrameChg chg="add del mod">
          <ac:chgData name="Cai, Simon (NSB - CN/Chengdu)" userId="37152ebf-cb41-4a71-820f-4428dc623117" providerId="ADAL" clId="{C4D77140-31D4-4C75-9B71-9EC371351EB5}" dt="2022-09-06T08:08:40.678" v="344"/>
          <ac:graphicFrameMkLst>
            <pc:docMk/>
            <pc:sldMk cId="166719520" sldId="2146846917"/>
            <ac:graphicFrameMk id="5" creationId="{BC9FD831-5144-4475-98D2-765733C61AC5}"/>
          </ac:graphicFrameMkLst>
        </pc:graphicFrameChg>
        <pc:graphicFrameChg chg="add mod modGraphic">
          <ac:chgData name="Cai, Simon (NSB - CN/Chengdu)" userId="37152ebf-cb41-4a71-820f-4428dc623117" providerId="ADAL" clId="{C4D77140-31D4-4C75-9B71-9EC371351EB5}" dt="2022-09-06T08:09:17.760" v="364" actId="1035"/>
          <ac:graphicFrameMkLst>
            <pc:docMk/>
            <pc:sldMk cId="166719520" sldId="2146846917"/>
            <ac:graphicFrameMk id="7" creationId="{30AB6D57-4CA3-46D3-8235-6217DA56710E}"/>
          </ac:graphicFrameMkLst>
        </pc:graphicFrameChg>
      </pc:sldChg>
    </pc:docChg>
  </pc:docChgLst>
  <pc:docChgLst>
    <pc:chgData name="Gupta, Pallab (Nokia - IN/Bangalore)" userId="2373e1e1-8f73-46a5-bf2c-89beccfccabe" providerId="ADAL" clId="{0512B058-48B1-496D-A9C7-5689A86D74FF}"/>
    <pc:docChg chg="undo custSel addSld delSld modSld sldOrd">
      <pc:chgData name="Gupta, Pallab (Nokia - IN/Bangalore)" userId="2373e1e1-8f73-46a5-bf2c-89beccfccabe" providerId="ADAL" clId="{0512B058-48B1-496D-A9C7-5689A86D74FF}" dt="2022-06-09T12:33:37.814" v="565" actId="113"/>
      <pc:docMkLst>
        <pc:docMk/>
      </pc:docMkLst>
      <pc:sldChg chg="modSp mod">
        <pc:chgData name="Gupta, Pallab (Nokia - IN/Bangalore)" userId="2373e1e1-8f73-46a5-bf2c-89beccfccabe" providerId="ADAL" clId="{0512B058-48B1-496D-A9C7-5689A86D74FF}" dt="2022-06-09T09:33:02.173" v="475" actId="20577"/>
        <pc:sldMkLst>
          <pc:docMk/>
          <pc:sldMk cId="3601372499" sldId="2134805539"/>
        </pc:sldMkLst>
        <pc:spChg chg="mod">
          <ac:chgData name="Gupta, Pallab (Nokia - IN/Bangalore)" userId="2373e1e1-8f73-46a5-bf2c-89beccfccabe" providerId="ADAL" clId="{0512B058-48B1-496D-A9C7-5689A86D74FF}" dt="2022-06-09T09:33:02.173" v="475" actId="20577"/>
          <ac:spMkLst>
            <pc:docMk/>
            <pc:sldMk cId="3601372499" sldId="2134805539"/>
            <ac:spMk id="6" creationId="{2E20DBE3-132B-4E49-9B12-D7A9DE1B1D38}"/>
          </ac:spMkLst>
        </pc:spChg>
      </pc:sldChg>
      <pc:sldChg chg="del">
        <pc:chgData name="Gupta, Pallab (Nokia - IN/Bangalore)" userId="2373e1e1-8f73-46a5-bf2c-89beccfccabe" providerId="ADAL" clId="{0512B058-48B1-496D-A9C7-5689A86D74FF}" dt="2022-06-09T10:39:22.526" v="478" actId="2696"/>
        <pc:sldMkLst>
          <pc:docMk/>
          <pc:sldMk cId="2409029067" sldId="2134805564"/>
        </pc:sldMkLst>
      </pc:sldChg>
      <pc:sldChg chg="add">
        <pc:chgData name="Gupta, Pallab (Nokia - IN/Bangalore)" userId="2373e1e1-8f73-46a5-bf2c-89beccfccabe" providerId="ADAL" clId="{0512B058-48B1-496D-A9C7-5689A86D74FF}" dt="2022-06-09T10:39:26.742" v="479"/>
        <pc:sldMkLst>
          <pc:docMk/>
          <pc:sldMk cId="2908247285" sldId="2134805564"/>
        </pc:sldMkLst>
      </pc:sldChg>
      <pc:sldChg chg="add">
        <pc:chgData name="Gupta, Pallab (Nokia - IN/Bangalore)" userId="2373e1e1-8f73-46a5-bf2c-89beccfccabe" providerId="ADAL" clId="{0512B058-48B1-496D-A9C7-5689A86D74FF}" dt="2022-06-09T10:39:26.742" v="479"/>
        <pc:sldMkLst>
          <pc:docMk/>
          <pc:sldMk cId="167068586" sldId="2134805576"/>
        </pc:sldMkLst>
      </pc:sldChg>
      <pc:sldChg chg="modSp add del mod">
        <pc:chgData name="Gupta, Pallab (Nokia - IN/Bangalore)" userId="2373e1e1-8f73-46a5-bf2c-89beccfccabe" providerId="ADAL" clId="{0512B058-48B1-496D-A9C7-5689A86D74FF}" dt="2022-06-09T12:31:31.763" v="515" actId="20577"/>
        <pc:sldMkLst>
          <pc:docMk/>
          <pc:sldMk cId="1432919690" sldId="2134805576"/>
        </pc:sldMkLst>
        <pc:spChg chg="mod">
          <ac:chgData name="Gupta, Pallab (Nokia - IN/Bangalore)" userId="2373e1e1-8f73-46a5-bf2c-89beccfccabe" providerId="ADAL" clId="{0512B058-48B1-496D-A9C7-5689A86D74FF}" dt="2022-06-09T12:31:31.763" v="515" actId="20577"/>
          <ac:spMkLst>
            <pc:docMk/>
            <pc:sldMk cId="1432919690" sldId="2134805576"/>
            <ac:spMk id="6" creationId="{E61890F2-4CB8-4400-847C-484981356A8A}"/>
          </ac:spMkLst>
        </pc:spChg>
      </pc:sldChg>
      <pc:sldChg chg="add">
        <pc:chgData name="Gupta, Pallab (Nokia - IN/Bangalore)" userId="2373e1e1-8f73-46a5-bf2c-89beccfccabe" providerId="ADAL" clId="{0512B058-48B1-496D-A9C7-5689A86D74FF}" dt="2022-06-09T10:39:26.742" v="479"/>
        <pc:sldMkLst>
          <pc:docMk/>
          <pc:sldMk cId="1400646624" sldId="2134805577"/>
        </pc:sldMkLst>
      </pc:sldChg>
      <pc:sldChg chg="del">
        <pc:chgData name="Gupta, Pallab (Nokia - IN/Bangalore)" userId="2373e1e1-8f73-46a5-bf2c-89beccfccabe" providerId="ADAL" clId="{0512B058-48B1-496D-A9C7-5689A86D74FF}" dt="2022-06-09T10:39:22.526" v="478" actId="2696"/>
        <pc:sldMkLst>
          <pc:docMk/>
          <pc:sldMk cId="1684592820" sldId="2134805577"/>
        </pc:sldMkLst>
      </pc:sldChg>
      <pc:sldChg chg="add">
        <pc:chgData name="Gupta, Pallab (Nokia - IN/Bangalore)" userId="2373e1e1-8f73-46a5-bf2c-89beccfccabe" providerId="ADAL" clId="{0512B058-48B1-496D-A9C7-5689A86D74FF}" dt="2022-06-09T10:39:26.742" v="479"/>
        <pc:sldMkLst>
          <pc:docMk/>
          <pc:sldMk cId="779368185" sldId="2134805578"/>
        </pc:sldMkLst>
      </pc:sldChg>
      <pc:sldChg chg="add del">
        <pc:chgData name="Gupta, Pallab (Nokia - IN/Bangalore)" userId="2373e1e1-8f73-46a5-bf2c-89beccfccabe" providerId="ADAL" clId="{0512B058-48B1-496D-A9C7-5689A86D74FF}" dt="2022-06-09T11:23:33.808" v="488"/>
        <pc:sldMkLst>
          <pc:docMk/>
          <pc:sldMk cId="2662172997" sldId="2134805578"/>
        </pc:sldMkLst>
      </pc:sldChg>
      <pc:sldChg chg="add">
        <pc:chgData name="Gupta, Pallab (Nokia - IN/Bangalore)" userId="2373e1e1-8f73-46a5-bf2c-89beccfccabe" providerId="ADAL" clId="{0512B058-48B1-496D-A9C7-5689A86D74FF}" dt="2022-06-09T10:39:26.742" v="479"/>
        <pc:sldMkLst>
          <pc:docMk/>
          <pc:sldMk cId="1476849375" sldId="2146846800"/>
        </pc:sldMkLst>
      </pc:sldChg>
      <pc:sldChg chg="del">
        <pc:chgData name="Gupta, Pallab (Nokia - IN/Bangalore)" userId="2373e1e1-8f73-46a5-bf2c-89beccfccabe" providerId="ADAL" clId="{0512B058-48B1-496D-A9C7-5689A86D74FF}" dt="2022-06-09T10:39:22.526" v="478" actId="2696"/>
        <pc:sldMkLst>
          <pc:docMk/>
          <pc:sldMk cId="1950938178" sldId="2146846800"/>
        </pc:sldMkLst>
      </pc:sldChg>
      <pc:sldChg chg="add">
        <pc:chgData name="Gupta, Pallab (Nokia - IN/Bangalore)" userId="2373e1e1-8f73-46a5-bf2c-89beccfccabe" providerId="ADAL" clId="{0512B058-48B1-496D-A9C7-5689A86D74FF}" dt="2022-06-09T10:39:26.742" v="479"/>
        <pc:sldMkLst>
          <pc:docMk/>
          <pc:sldMk cId="918522189" sldId="2146846801"/>
        </pc:sldMkLst>
      </pc:sldChg>
      <pc:sldChg chg="del">
        <pc:chgData name="Gupta, Pallab (Nokia - IN/Bangalore)" userId="2373e1e1-8f73-46a5-bf2c-89beccfccabe" providerId="ADAL" clId="{0512B058-48B1-496D-A9C7-5689A86D74FF}" dt="2022-06-09T10:39:22.526" v="478" actId="2696"/>
        <pc:sldMkLst>
          <pc:docMk/>
          <pc:sldMk cId="2576700197" sldId="2146846801"/>
        </pc:sldMkLst>
      </pc:sldChg>
      <pc:sldChg chg="del">
        <pc:chgData name="Gupta, Pallab (Nokia - IN/Bangalore)" userId="2373e1e1-8f73-46a5-bf2c-89beccfccabe" providerId="ADAL" clId="{0512B058-48B1-496D-A9C7-5689A86D74FF}" dt="2022-06-09T12:28:02.962" v="493" actId="2696"/>
        <pc:sldMkLst>
          <pc:docMk/>
          <pc:sldMk cId="1171493820" sldId="2146846802"/>
        </pc:sldMkLst>
      </pc:sldChg>
      <pc:sldChg chg="add">
        <pc:chgData name="Gupta, Pallab (Nokia - IN/Bangalore)" userId="2373e1e1-8f73-46a5-bf2c-89beccfccabe" providerId="ADAL" clId="{0512B058-48B1-496D-A9C7-5689A86D74FF}" dt="2022-06-09T12:28:08.182" v="494"/>
        <pc:sldMkLst>
          <pc:docMk/>
          <pc:sldMk cId="3593904960" sldId="2146846802"/>
        </pc:sldMkLst>
      </pc:sldChg>
      <pc:sldChg chg="del">
        <pc:chgData name="Gupta, Pallab (Nokia - IN/Bangalore)" userId="2373e1e1-8f73-46a5-bf2c-89beccfccabe" providerId="ADAL" clId="{0512B058-48B1-496D-A9C7-5689A86D74FF}" dt="2022-06-09T10:38:47.569" v="477" actId="47"/>
        <pc:sldMkLst>
          <pc:docMk/>
          <pc:sldMk cId="248490523" sldId="2146846803"/>
        </pc:sldMkLst>
      </pc:sldChg>
      <pc:sldChg chg="add del">
        <pc:chgData name="Gupta, Pallab (Nokia - IN/Bangalore)" userId="2373e1e1-8f73-46a5-bf2c-89beccfccabe" providerId="ADAL" clId="{0512B058-48B1-496D-A9C7-5689A86D74FF}" dt="2022-06-09T12:28:02.962" v="493" actId="2696"/>
        <pc:sldMkLst>
          <pc:docMk/>
          <pc:sldMk cId="530586286" sldId="2146846853"/>
        </pc:sldMkLst>
      </pc:sldChg>
      <pc:sldChg chg="add">
        <pc:chgData name="Gupta, Pallab (Nokia - IN/Bangalore)" userId="2373e1e1-8f73-46a5-bf2c-89beccfccabe" providerId="ADAL" clId="{0512B058-48B1-496D-A9C7-5689A86D74FF}" dt="2022-06-09T12:28:08.182" v="494"/>
        <pc:sldMkLst>
          <pc:docMk/>
          <pc:sldMk cId="2890166730" sldId="2146846853"/>
        </pc:sldMkLst>
      </pc:sldChg>
      <pc:sldChg chg="add">
        <pc:chgData name="Gupta, Pallab (Nokia - IN/Bangalore)" userId="2373e1e1-8f73-46a5-bf2c-89beccfccabe" providerId="ADAL" clId="{0512B058-48B1-496D-A9C7-5689A86D74FF}" dt="2022-06-09T12:28:08.182" v="494"/>
        <pc:sldMkLst>
          <pc:docMk/>
          <pc:sldMk cId="1669694331" sldId="2146846854"/>
        </pc:sldMkLst>
      </pc:sldChg>
      <pc:sldChg chg="add del">
        <pc:chgData name="Gupta, Pallab (Nokia - IN/Bangalore)" userId="2373e1e1-8f73-46a5-bf2c-89beccfccabe" providerId="ADAL" clId="{0512B058-48B1-496D-A9C7-5689A86D74FF}" dt="2022-06-09T12:28:02.962" v="493" actId="2696"/>
        <pc:sldMkLst>
          <pc:docMk/>
          <pc:sldMk cId="1951439449" sldId="2146846854"/>
        </pc:sldMkLst>
      </pc:sldChg>
      <pc:sldChg chg="add">
        <pc:chgData name="Gupta, Pallab (Nokia - IN/Bangalore)" userId="2373e1e1-8f73-46a5-bf2c-89beccfccabe" providerId="ADAL" clId="{0512B058-48B1-496D-A9C7-5689A86D74FF}" dt="2022-06-09T12:28:08.182" v="494"/>
        <pc:sldMkLst>
          <pc:docMk/>
          <pc:sldMk cId="1304168030" sldId="2146846855"/>
        </pc:sldMkLst>
      </pc:sldChg>
      <pc:sldChg chg="add del">
        <pc:chgData name="Gupta, Pallab (Nokia - IN/Bangalore)" userId="2373e1e1-8f73-46a5-bf2c-89beccfccabe" providerId="ADAL" clId="{0512B058-48B1-496D-A9C7-5689A86D74FF}" dt="2022-06-09T12:28:02.962" v="493" actId="2696"/>
        <pc:sldMkLst>
          <pc:docMk/>
          <pc:sldMk cId="2198565998" sldId="2146846855"/>
        </pc:sldMkLst>
      </pc:sldChg>
      <pc:sldChg chg="add">
        <pc:chgData name="Gupta, Pallab (Nokia - IN/Bangalore)" userId="2373e1e1-8f73-46a5-bf2c-89beccfccabe" providerId="ADAL" clId="{0512B058-48B1-496D-A9C7-5689A86D74FF}" dt="2022-06-09T12:28:08.182" v="494"/>
        <pc:sldMkLst>
          <pc:docMk/>
          <pc:sldMk cId="949808208" sldId="2146846856"/>
        </pc:sldMkLst>
      </pc:sldChg>
      <pc:sldChg chg="add del">
        <pc:chgData name="Gupta, Pallab (Nokia - IN/Bangalore)" userId="2373e1e1-8f73-46a5-bf2c-89beccfccabe" providerId="ADAL" clId="{0512B058-48B1-496D-A9C7-5689A86D74FF}" dt="2022-06-09T12:28:02.962" v="493" actId="2696"/>
        <pc:sldMkLst>
          <pc:docMk/>
          <pc:sldMk cId="2712813147" sldId="2146846856"/>
        </pc:sldMkLst>
      </pc:sldChg>
      <pc:sldChg chg="del">
        <pc:chgData name="Gupta, Pallab (Nokia - IN/Bangalore)" userId="2373e1e1-8f73-46a5-bf2c-89beccfccabe" providerId="ADAL" clId="{0512B058-48B1-496D-A9C7-5689A86D74FF}" dt="2022-06-09T11:08:45.618" v="481" actId="47"/>
        <pc:sldMkLst>
          <pc:docMk/>
          <pc:sldMk cId="1476849375" sldId="2146846858"/>
        </pc:sldMkLst>
      </pc:sldChg>
      <pc:sldChg chg="del">
        <pc:chgData name="Gupta, Pallab (Nokia - IN/Bangalore)" userId="2373e1e1-8f73-46a5-bf2c-89beccfccabe" providerId="ADAL" clId="{0512B058-48B1-496D-A9C7-5689A86D74FF}" dt="2022-06-09T12:14:12.529" v="491" actId="47"/>
        <pc:sldMkLst>
          <pc:docMk/>
          <pc:sldMk cId="167068586" sldId="2146846860"/>
        </pc:sldMkLst>
      </pc:sldChg>
      <pc:sldChg chg="addSp delSp del mod">
        <pc:chgData name="Gupta, Pallab (Nokia - IN/Bangalore)" userId="2373e1e1-8f73-46a5-bf2c-89beccfccabe" providerId="ADAL" clId="{0512B058-48B1-496D-A9C7-5689A86D74FF}" dt="2022-06-09T11:23:35.510" v="489" actId="47"/>
        <pc:sldMkLst>
          <pc:docMk/>
          <pc:sldMk cId="779368185" sldId="2146846862"/>
        </pc:sldMkLst>
        <pc:spChg chg="add del">
          <ac:chgData name="Gupta, Pallab (Nokia - IN/Bangalore)" userId="2373e1e1-8f73-46a5-bf2c-89beccfccabe" providerId="ADAL" clId="{0512B058-48B1-496D-A9C7-5689A86D74FF}" dt="2022-06-09T11:23:11.685" v="485" actId="22"/>
          <ac:spMkLst>
            <pc:docMk/>
            <pc:sldMk cId="779368185" sldId="2146846862"/>
            <ac:spMk id="9" creationId="{6C803E75-1788-4016-AEDA-082842AFA1B9}"/>
          </ac:spMkLst>
        </pc:spChg>
        <pc:spChg chg="add del">
          <ac:chgData name="Gupta, Pallab (Nokia - IN/Bangalore)" userId="2373e1e1-8f73-46a5-bf2c-89beccfccabe" providerId="ADAL" clId="{0512B058-48B1-496D-A9C7-5689A86D74FF}" dt="2022-06-09T11:23:22.323" v="487" actId="22"/>
          <ac:spMkLst>
            <pc:docMk/>
            <pc:sldMk cId="779368185" sldId="2146846862"/>
            <ac:spMk id="10" creationId="{6D322FE5-8E46-4971-9827-38DF28610562}"/>
          </ac:spMkLst>
        </pc:spChg>
      </pc:sldChg>
      <pc:sldChg chg="add">
        <pc:chgData name="Gupta, Pallab (Nokia - IN/Bangalore)" userId="2373e1e1-8f73-46a5-bf2c-89beccfccabe" providerId="ADAL" clId="{0512B058-48B1-496D-A9C7-5689A86D74FF}" dt="2022-06-09T11:08:43.079" v="480"/>
        <pc:sldMkLst>
          <pc:docMk/>
          <pc:sldMk cId="4245832010" sldId="2146846863"/>
        </pc:sldMkLst>
      </pc:sldChg>
      <pc:sldChg chg="add">
        <pc:chgData name="Gupta, Pallab (Nokia - IN/Bangalore)" userId="2373e1e1-8f73-46a5-bf2c-89beccfccabe" providerId="ADAL" clId="{0512B058-48B1-496D-A9C7-5689A86D74FF}" dt="2022-06-09T11:08:43.079" v="480"/>
        <pc:sldMkLst>
          <pc:docMk/>
          <pc:sldMk cId="2376795753" sldId="2146846864"/>
        </pc:sldMkLst>
      </pc:sldChg>
      <pc:sldChg chg="add ord">
        <pc:chgData name="Gupta, Pallab (Nokia - IN/Bangalore)" userId="2373e1e1-8f73-46a5-bf2c-89beccfccabe" providerId="ADAL" clId="{0512B058-48B1-496D-A9C7-5689A86D74FF}" dt="2022-06-09T11:09:00.211" v="483"/>
        <pc:sldMkLst>
          <pc:docMk/>
          <pc:sldMk cId="1731970506" sldId="2146846865"/>
        </pc:sldMkLst>
      </pc:sldChg>
      <pc:sldChg chg="add">
        <pc:chgData name="Gupta, Pallab (Nokia - IN/Bangalore)" userId="2373e1e1-8f73-46a5-bf2c-89beccfccabe" providerId="ADAL" clId="{0512B058-48B1-496D-A9C7-5689A86D74FF}" dt="2022-06-09T11:08:43.079" v="480"/>
        <pc:sldMkLst>
          <pc:docMk/>
          <pc:sldMk cId="2703238498" sldId="2146846866"/>
        </pc:sldMkLst>
      </pc:sldChg>
      <pc:sldChg chg="add">
        <pc:chgData name="Gupta, Pallab (Nokia - IN/Bangalore)" userId="2373e1e1-8f73-46a5-bf2c-89beccfccabe" providerId="ADAL" clId="{0512B058-48B1-496D-A9C7-5689A86D74FF}" dt="2022-06-09T11:08:43.079" v="480"/>
        <pc:sldMkLst>
          <pc:docMk/>
          <pc:sldMk cId="2622474165" sldId="2146846867"/>
        </pc:sldMkLst>
      </pc:sldChg>
      <pc:sldChg chg="modSp add mod">
        <pc:chgData name="Gupta, Pallab (Nokia - IN/Bangalore)" userId="2373e1e1-8f73-46a5-bf2c-89beccfccabe" providerId="ADAL" clId="{0512B058-48B1-496D-A9C7-5689A86D74FF}" dt="2022-06-09T12:33:09.996" v="564" actId="20577"/>
        <pc:sldMkLst>
          <pc:docMk/>
          <pc:sldMk cId="3958497071" sldId="2146846868"/>
        </pc:sldMkLst>
        <pc:spChg chg="mod">
          <ac:chgData name="Gupta, Pallab (Nokia - IN/Bangalore)" userId="2373e1e1-8f73-46a5-bf2c-89beccfccabe" providerId="ADAL" clId="{0512B058-48B1-496D-A9C7-5689A86D74FF}" dt="2022-06-09T12:33:09.996" v="564" actId="20577"/>
          <ac:spMkLst>
            <pc:docMk/>
            <pc:sldMk cId="3958497071" sldId="2146846868"/>
            <ac:spMk id="8" creationId="{A5118FE7-EFFB-461A-95FF-C7ED6B2F7D0B}"/>
          </ac:spMkLst>
        </pc:spChg>
      </pc:sldChg>
      <pc:sldChg chg="modSp add mod">
        <pc:chgData name="Gupta, Pallab (Nokia - IN/Bangalore)" userId="2373e1e1-8f73-46a5-bf2c-89beccfccabe" providerId="ADAL" clId="{0512B058-48B1-496D-A9C7-5689A86D74FF}" dt="2022-06-09T12:33:37.814" v="565" actId="113"/>
        <pc:sldMkLst>
          <pc:docMk/>
          <pc:sldMk cId="2622373010" sldId="2146846869"/>
        </pc:sldMkLst>
        <pc:spChg chg="mod">
          <ac:chgData name="Gupta, Pallab (Nokia - IN/Bangalore)" userId="2373e1e1-8f73-46a5-bf2c-89beccfccabe" providerId="ADAL" clId="{0512B058-48B1-496D-A9C7-5689A86D74FF}" dt="2022-06-09T12:33:37.814" v="565" actId="113"/>
          <ac:spMkLst>
            <pc:docMk/>
            <pc:sldMk cId="2622373010" sldId="2146846869"/>
            <ac:spMk id="8" creationId="{A5118FE7-EFFB-461A-95FF-C7ED6B2F7D0B}"/>
          </ac:spMkLst>
        </pc:spChg>
      </pc:sldChg>
      <pc:sldChg chg="add">
        <pc:chgData name="Gupta, Pallab (Nokia - IN/Bangalore)" userId="2373e1e1-8f73-46a5-bf2c-89beccfccabe" providerId="ADAL" clId="{0512B058-48B1-496D-A9C7-5689A86D74FF}" dt="2022-06-09T12:27:45.146" v="492"/>
        <pc:sldMkLst>
          <pc:docMk/>
          <pc:sldMk cId="145295764" sldId="2146846870"/>
        </pc:sldMkLst>
      </pc:sldChg>
    </pc:docChg>
  </pc:docChgLst>
  <pc:docChgLst>
    <pc:chgData name="Lair, Yannick (Nokia - FR/Paris-Saclay)" userId="e0601b81-de45-4b0d-b7c3-b06e9080ce2c" providerId="ADAL" clId="{989A7515-5714-4B41-9BC3-B07678D8477D}"/>
    <pc:docChg chg="addSld delSld modSld">
      <pc:chgData name="Lair, Yannick (Nokia - FR/Paris-Saclay)" userId="e0601b81-de45-4b0d-b7c3-b06e9080ce2c" providerId="ADAL" clId="{989A7515-5714-4B41-9BC3-B07678D8477D}" dt="2020-05-05T07:03:08.898" v="2" actId="2696"/>
      <pc:docMkLst>
        <pc:docMk/>
      </pc:docMkLst>
      <pc:sldChg chg="del">
        <pc:chgData name="Lair, Yannick (Nokia - FR/Paris-Saclay)" userId="e0601b81-de45-4b0d-b7c3-b06e9080ce2c" providerId="ADAL" clId="{989A7515-5714-4B41-9BC3-B07678D8477D}" dt="2020-05-05T07:03:07.951" v="1" actId="2696"/>
        <pc:sldMkLst>
          <pc:docMk/>
          <pc:sldMk cId="3072010189" sldId="284"/>
        </pc:sldMkLst>
      </pc:sldChg>
      <pc:sldChg chg="del">
        <pc:chgData name="Lair, Yannick (Nokia - FR/Paris-Saclay)" userId="e0601b81-de45-4b0d-b7c3-b06e9080ce2c" providerId="ADAL" clId="{989A7515-5714-4B41-9BC3-B07678D8477D}" dt="2020-05-05T07:03:08.898" v="2" actId="2696"/>
        <pc:sldMkLst>
          <pc:docMk/>
          <pc:sldMk cId="3922117623" sldId="315"/>
        </pc:sldMkLst>
      </pc:sldChg>
      <pc:sldChg chg="add">
        <pc:chgData name="Lair, Yannick (Nokia - FR/Paris-Saclay)" userId="e0601b81-de45-4b0d-b7c3-b06e9080ce2c" providerId="ADAL" clId="{989A7515-5714-4B41-9BC3-B07678D8477D}" dt="2020-05-05T07:03:01.139" v="0"/>
        <pc:sldMkLst>
          <pc:docMk/>
          <pc:sldMk cId="3925664284" sldId="344"/>
        </pc:sldMkLst>
      </pc:sldChg>
      <pc:sldChg chg="add">
        <pc:chgData name="Lair, Yannick (Nokia - FR/Paris-Saclay)" userId="e0601b81-de45-4b0d-b7c3-b06e9080ce2c" providerId="ADAL" clId="{989A7515-5714-4B41-9BC3-B07678D8477D}" dt="2020-05-05T07:03:01.139" v="0"/>
        <pc:sldMkLst>
          <pc:docMk/>
          <pc:sldMk cId="2502293979" sldId="345"/>
        </pc:sldMkLst>
      </pc:sldChg>
      <pc:sldChg chg="add">
        <pc:chgData name="Lair, Yannick (Nokia - FR/Paris-Saclay)" userId="e0601b81-de45-4b0d-b7c3-b06e9080ce2c" providerId="ADAL" clId="{989A7515-5714-4B41-9BC3-B07678D8477D}" dt="2020-05-05T07:03:01.139" v="0"/>
        <pc:sldMkLst>
          <pc:docMk/>
          <pc:sldMk cId="1198382535" sldId="346"/>
        </pc:sldMkLst>
      </pc:sldChg>
      <pc:sldChg chg="add">
        <pc:chgData name="Lair, Yannick (Nokia - FR/Paris-Saclay)" userId="e0601b81-de45-4b0d-b7c3-b06e9080ce2c" providerId="ADAL" clId="{989A7515-5714-4B41-9BC3-B07678D8477D}" dt="2020-05-05T07:03:01.139" v="0"/>
        <pc:sldMkLst>
          <pc:docMk/>
          <pc:sldMk cId="349967769" sldId="347"/>
        </pc:sldMkLst>
      </pc:sldChg>
    </pc:docChg>
  </pc:docChgLst>
  <pc:docChgLst>
    <pc:chgData name="Thomas Belling" userId="38e53bf5-7a59-41ec-8bf1-bf611b810166" providerId="ADAL" clId="{CF3D6EAC-44FB-4F49-8A6B-678E94F10762}"/>
    <pc:docChg chg="undo custSel addSld delSld modSld sldOrd">
      <pc:chgData name="Thomas Belling" userId="38e53bf5-7a59-41ec-8bf1-bf611b810166" providerId="ADAL" clId="{CF3D6EAC-44FB-4F49-8A6B-678E94F10762}" dt="2022-09-06T00:19:14.387" v="3545" actId="1076"/>
      <pc:docMkLst>
        <pc:docMk/>
      </pc:docMkLst>
      <pc:sldChg chg="addSp delSp modSp ord">
        <pc:chgData name="Thomas Belling" userId="38e53bf5-7a59-41ec-8bf1-bf611b810166" providerId="ADAL" clId="{CF3D6EAC-44FB-4F49-8A6B-678E94F10762}" dt="2022-09-06T00:17:50.352" v="3527" actId="20577"/>
        <pc:sldMkLst>
          <pc:docMk/>
          <pc:sldMk cId="765254280" sldId="2146846794"/>
        </pc:sldMkLst>
        <pc:spChg chg="mod">
          <ac:chgData name="Thomas Belling" userId="38e53bf5-7a59-41ec-8bf1-bf611b810166" providerId="ADAL" clId="{CF3D6EAC-44FB-4F49-8A6B-678E94F10762}" dt="2022-09-06T00:07:06.860" v="2490" actId="255"/>
          <ac:spMkLst>
            <pc:docMk/>
            <pc:sldMk cId="765254280" sldId="2146846794"/>
            <ac:spMk id="2" creationId="{828AE646-029C-43F1-BE54-1B04A2DEF02D}"/>
          </ac:spMkLst>
        </pc:spChg>
        <pc:spChg chg="mod">
          <ac:chgData name="Thomas Belling" userId="38e53bf5-7a59-41ec-8bf1-bf611b810166" providerId="ADAL" clId="{CF3D6EAC-44FB-4F49-8A6B-678E94F10762}" dt="2022-09-06T00:17:50.352" v="3527" actId="20577"/>
          <ac:spMkLst>
            <pc:docMk/>
            <pc:sldMk cId="765254280" sldId="2146846794"/>
            <ac:spMk id="3" creationId="{B048C618-39BC-4B3E-A0B8-FE581AEF965F}"/>
          </ac:spMkLst>
        </pc:spChg>
        <pc:spChg chg="add del mod">
          <ac:chgData name="Thomas Belling" userId="38e53bf5-7a59-41ec-8bf1-bf611b810166" providerId="ADAL" clId="{CF3D6EAC-44FB-4F49-8A6B-678E94F10762}" dt="2022-09-05T23:22:25.533" v="13" actId="571"/>
          <ac:spMkLst>
            <pc:docMk/>
            <pc:sldMk cId="765254280" sldId="2146846794"/>
            <ac:spMk id="5" creationId="{4A425E5C-8AAF-D890-366A-FFB31C98028A}"/>
          </ac:spMkLst>
        </pc:spChg>
        <pc:spChg chg="add del">
          <ac:chgData name="Thomas Belling" userId="38e53bf5-7a59-41ec-8bf1-bf611b810166" providerId="ADAL" clId="{CF3D6EAC-44FB-4F49-8A6B-678E94F10762}" dt="2022-09-05T23:28:15.008" v="47" actId="22"/>
          <ac:spMkLst>
            <pc:docMk/>
            <pc:sldMk cId="765254280" sldId="2146846794"/>
            <ac:spMk id="7" creationId="{A54A1290-DF9B-8BE5-EA14-6E8377F9D8F8}"/>
          </ac:spMkLst>
        </pc:spChg>
      </pc:sldChg>
      <pc:sldChg chg="add del">
        <pc:chgData name="Thomas Belling" userId="38e53bf5-7a59-41ec-8bf1-bf611b810166" providerId="ADAL" clId="{CF3D6EAC-44FB-4F49-8A6B-678E94F10762}" dt="2022-09-05T23:33:20.083" v="60" actId="22"/>
        <pc:sldMkLst>
          <pc:docMk/>
          <pc:sldMk cId="853947826" sldId="2146846908"/>
        </pc:sldMkLst>
      </pc:sldChg>
      <pc:sldChg chg="new del">
        <pc:chgData name="Thomas Belling" userId="38e53bf5-7a59-41ec-8bf1-bf611b810166" providerId="ADAL" clId="{CF3D6EAC-44FB-4F49-8A6B-678E94F10762}" dt="2022-09-05T23:31:40.060" v="50" actId="680"/>
        <pc:sldMkLst>
          <pc:docMk/>
          <pc:sldMk cId="1763180629" sldId="2146846908"/>
        </pc:sldMkLst>
      </pc:sldChg>
      <pc:sldChg chg="modSp add">
        <pc:chgData name="Thomas Belling" userId="38e53bf5-7a59-41ec-8bf1-bf611b810166" providerId="ADAL" clId="{CF3D6EAC-44FB-4F49-8A6B-678E94F10762}" dt="2022-09-06T00:17:30.999" v="3519" actId="20577"/>
        <pc:sldMkLst>
          <pc:docMk/>
          <pc:sldMk cId="3854435541" sldId="2146846908"/>
        </pc:sldMkLst>
        <pc:spChg chg="mod">
          <ac:chgData name="Thomas Belling" userId="38e53bf5-7a59-41ec-8bf1-bf611b810166" providerId="ADAL" clId="{CF3D6EAC-44FB-4F49-8A6B-678E94F10762}" dt="2022-09-05T23:35:43.266" v="64" actId="12"/>
          <ac:spMkLst>
            <pc:docMk/>
            <pc:sldMk cId="3854435541" sldId="2146846908"/>
            <ac:spMk id="2" creationId="{828AE646-029C-43F1-BE54-1B04A2DEF02D}"/>
          </ac:spMkLst>
        </pc:spChg>
        <pc:spChg chg="mod">
          <ac:chgData name="Thomas Belling" userId="38e53bf5-7a59-41ec-8bf1-bf611b810166" providerId="ADAL" clId="{CF3D6EAC-44FB-4F49-8A6B-678E94F10762}" dt="2022-09-06T00:17:30.999" v="3519" actId="20577"/>
          <ac:spMkLst>
            <pc:docMk/>
            <pc:sldMk cId="3854435541" sldId="2146846908"/>
            <ac:spMk id="3" creationId="{B048C618-39BC-4B3E-A0B8-FE581AEF965F}"/>
          </ac:spMkLst>
        </pc:spChg>
      </pc:sldChg>
      <pc:sldChg chg="addSp delSp modSp add">
        <pc:chgData name="Thomas Belling" userId="38e53bf5-7a59-41ec-8bf1-bf611b810166" providerId="ADAL" clId="{CF3D6EAC-44FB-4F49-8A6B-678E94F10762}" dt="2022-09-06T00:18:16.591" v="3535" actId="20577"/>
        <pc:sldMkLst>
          <pc:docMk/>
          <pc:sldMk cId="2363355949" sldId="2146846909"/>
        </pc:sldMkLst>
        <pc:spChg chg="mod">
          <ac:chgData name="Thomas Belling" userId="38e53bf5-7a59-41ec-8bf1-bf611b810166" providerId="ADAL" clId="{CF3D6EAC-44FB-4F49-8A6B-678E94F10762}" dt="2022-09-06T00:08:38.292" v="2495" actId="1076"/>
          <ac:spMkLst>
            <pc:docMk/>
            <pc:sldMk cId="2363355949" sldId="2146846909"/>
            <ac:spMk id="2" creationId="{828AE646-029C-43F1-BE54-1B04A2DEF02D}"/>
          </ac:spMkLst>
        </pc:spChg>
        <pc:spChg chg="mod">
          <ac:chgData name="Thomas Belling" userId="38e53bf5-7a59-41ec-8bf1-bf611b810166" providerId="ADAL" clId="{CF3D6EAC-44FB-4F49-8A6B-678E94F10762}" dt="2022-09-06T00:18:16.591" v="3535" actId="20577"/>
          <ac:spMkLst>
            <pc:docMk/>
            <pc:sldMk cId="2363355949" sldId="2146846909"/>
            <ac:spMk id="3" creationId="{B048C618-39BC-4B3E-A0B8-FE581AEF965F}"/>
          </ac:spMkLst>
        </pc:spChg>
        <pc:spChg chg="add del mod">
          <ac:chgData name="Thomas Belling" userId="38e53bf5-7a59-41ec-8bf1-bf611b810166" providerId="ADAL" clId="{CF3D6EAC-44FB-4F49-8A6B-678E94F10762}" dt="2022-09-05T23:56:07.249" v="1852" actId="22"/>
          <ac:spMkLst>
            <pc:docMk/>
            <pc:sldMk cId="2363355949" sldId="2146846909"/>
            <ac:spMk id="5" creationId="{8884538D-5A5A-7E61-9ED2-3E0C452DAEC5}"/>
          </ac:spMkLst>
        </pc:spChg>
      </pc:sldChg>
      <pc:sldChg chg="modSp add">
        <pc:chgData name="Thomas Belling" userId="38e53bf5-7a59-41ec-8bf1-bf611b810166" providerId="ADAL" clId="{CF3D6EAC-44FB-4F49-8A6B-678E94F10762}" dt="2022-09-06T00:19:14.387" v="3545" actId="1076"/>
        <pc:sldMkLst>
          <pc:docMk/>
          <pc:sldMk cId="1816928782" sldId="2146846910"/>
        </pc:sldMkLst>
        <pc:spChg chg="mod">
          <ac:chgData name="Thomas Belling" userId="38e53bf5-7a59-41ec-8bf1-bf611b810166" providerId="ADAL" clId="{CF3D6EAC-44FB-4F49-8A6B-678E94F10762}" dt="2022-09-06T00:19:14.387" v="3545" actId="1076"/>
          <ac:spMkLst>
            <pc:docMk/>
            <pc:sldMk cId="1816928782" sldId="2146846910"/>
            <ac:spMk id="2" creationId="{828AE646-029C-43F1-BE54-1B04A2DEF02D}"/>
          </ac:spMkLst>
        </pc:spChg>
        <pc:spChg chg="mod">
          <ac:chgData name="Thomas Belling" userId="38e53bf5-7a59-41ec-8bf1-bf611b810166" providerId="ADAL" clId="{CF3D6EAC-44FB-4F49-8A6B-678E94F10762}" dt="2022-09-06T00:18:40.103" v="3543" actId="20577"/>
          <ac:spMkLst>
            <pc:docMk/>
            <pc:sldMk cId="1816928782" sldId="2146846910"/>
            <ac:spMk id="3" creationId="{B048C618-39BC-4B3E-A0B8-FE581AEF965F}"/>
          </ac:spMkLst>
        </pc:spChg>
      </pc:sldChg>
      <pc:sldChg chg="add del">
        <pc:chgData name="Thomas Belling" userId="38e53bf5-7a59-41ec-8bf1-bf611b810166" providerId="ADAL" clId="{CF3D6EAC-44FB-4F49-8A6B-678E94F10762}" dt="2022-09-06T00:17:03.127" v="3515" actId="2696"/>
        <pc:sldMkLst>
          <pc:docMk/>
          <pc:sldMk cId="3672705453" sldId="2146846911"/>
        </pc:sldMkLst>
      </pc:sldChg>
      <pc:sldChg chg="add del">
        <pc:chgData name="Thomas Belling" userId="38e53bf5-7a59-41ec-8bf1-bf611b810166" providerId="ADAL" clId="{CF3D6EAC-44FB-4F49-8A6B-678E94F10762}" dt="2022-09-06T00:17:07.940" v="3516" actId="2696"/>
        <pc:sldMkLst>
          <pc:docMk/>
          <pc:sldMk cId="1785491399" sldId="2146846912"/>
        </pc:sldMkLst>
      </pc:sldChg>
    </pc:docChg>
  </pc:docChgLst>
  <pc:docChgLst>
    <pc:chgData name="Singh, Shubhranshu (Nokia - DE/Munich)" userId="S::shubhranshu.singh@nokia-bell-labs.com::097f1207-65ae-4ec2-ab78-00d0c1d73a58" providerId="AD" clId="Web-{C2CF177F-9F1A-AD2B-0D58-D7CA070F361B}"/>
    <pc:docChg chg="modSld">
      <pc:chgData name="Singh, Shubhranshu (Nokia - DE/Munich)" userId="S::shubhranshu.singh@nokia-bell-labs.com::097f1207-65ae-4ec2-ab78-00d0c1d73a58" providerId="AD" clId="Web-{C2CF177F-9F1A-AD2B-0D58-D7CA070F361B}" dt="2022-03-07T11:00:43.583" v="9" actId="20577"/>
      <pc:docMkLst>
        <pc:docMk/>
      </pc:docMkLst>
      <pc:sldChg chg="modSp">
        <pc:chgData name="Singh, Shubhranshu (Nokia - DE/Munich)" userId="S::shubhranshu.singh@nokia-bell-labs.com::097f1207-65ae-4ec2-ab78-00d0c1d73a58" providerId="AD" clId="Web-{C2CF177F-9F1A-AD2B-0D58-D7CA070F361B}" dt="2022-03-07T11:00:43.583" v="9" actId="20577"/>
        <pc:sldMkLst>
          <pc:docMk/>
          <pc:sldMk cId="477553370" sldId="2146846815"/>
        </pc:sldMkLst>
        <pc:spChg chg="mod">
          <ac:chgData name="Singh, Shubhranshu (Nokia - DE/Munich)" userId="S::shubhranshu.singh@nokia-bell-labs.com::097f1207-65ae-4ec2-ab78-00d0c1d73a58" providerId="AD" clId="Web-{C2CF177F-9F1A-AD2B-0D58-D7CA070F361B}" dt="2022-03-07T11:00:43.583" v="9" actId="20577"/>
          <ac:spMkLst>
            <pc:docMk/>
            <pc:sldMk cId="477553370" sldId="2146846815"/>
            <ac:spMk id="4" creationId="{CD72C33D-DF40-4601-AF02-8DFD5A6EA958}"/>
          </ac:spMkLst>
        </pc:spChg>
      </pc:sldChg>
    </pc:docChg>
  </pc:docChgLst>
  <pc:docChgLst>
    <pc:chgData name="Chandramouli, Devaki (Nokia - US/Dallas)" userId="S::devaki.chandramouli@nokia.com::ebf2a9f8-651b-4485-926f-9d93c0eafbc5" providerId="AD" clId="Web-{51790CD4-CE54-70DE-9DA2-C4505DCFF181}"/>
    <pc:docChg chg="addSld delSld modSld">
      <pc:chgData name="Chandramouli, Devaki (Nokia - US/Dallas)" userId="S::devaki.chandramouli@nokia.com::ebf2a9f8-651b-4485-926f-9d93c0eafbc5" providerId="AD" clId="Web-{51790CD4-CE54-70DE-9DA2-C4505DCFF181}" dt="2022-09-03T21:37:04.012" v="232" actId="20577"/>
      <pc:docMkLst>
        <pc:docMk/>
      </pc:docMkLst>
      <pc:sldChg chg="modSp">
        <pc:chgData name="Chandramouli, Devaki (Nokia - US/Dallas)" userId="S::devaki.chandramouli@nokia.com::ebf2a9f8-651b-4485-926f-9d93c0eafbc5" providerId="AD" clId="Web-{51790CD4-CE54-70DE-9DA2-C4505DCFF181}" dt="2022-09-03T21:31:09.062" v="91" actId="20577"/>
        <pc:sldMkLst>
          <pc:docMk/>
          <pc:sldMk cId="1806586001" sldId="2134805614"/>
        </pc:sldMkLst>
        <pc:spChg chg="mod">
          <ac:chgData name="Chandramouli, Devaki (Nokia - US/Dallas)" userId="S::devaki.chandramouli@nokia.com::ebf2a9f8-651b-4485-926f-9d93c0eafbc5" providerId="AD" clId="Web-{51790CD4-CE54-70DE-9DA2-C4505DCFF181}" dt="2022-09-03T21:31:09.062" v="91" actId="20577"/>
          <ac:spMkLst>
            <pc:docMk/>
            <pc:sldMk cId="1806586001" sldId="2134805614"/>
            <ac:spMk id="4" creationId="{FD9B9349-5219-4A4E-8125-7E6F849D4C07}"/>
          </ac:spMkLst>
        </pc:spChg>
      </pc:sldChg>
      <pc:sldChg chg="del">
        <pc:chgData name="Chandramouli, Devaki (Nokia - US/Dallas)" userId="S::devaki.chandramouli@nokia.com::ebf2a9f8-651b-4485-926f-9d93c0eafbc5" providerId="AD" clId="Web-{51790CD4-CE54-70DE-9DA2-C4505DCFF181}" dt="2022-09-03T21:24:05.445" v="44"/>
        <pc:sldMkLst>
          <pc:docMk/>
          <pc:sldMk cId="4258466691" sldId="2134805615"/>
        </pc:sldMkLst>
      </pc:sldChg>
      <pc:sldChg chg="del">
        <pc:chgData name="Chandramouli, Devaki (Nokia - US/Dallas)" userId="S::devaki.chandramouli@nokia.com::ebf2a9f8-651b-4485-926f-9d93c0eafbc5" providerId="AD" clId="Web-{51790CD4-CE54-70DE-9DA2-C4505DCFF181}" dt="2022-09-03T21:24:22.915" v="70"/>
        <pc:sldMkLst>
          <pc:docMk/>
          <pc:sldMk cId="2186302939" sldId="2134805616"/>
        </pc:sldMkLst>
      </pc:sldChg>
      <pc:sldChg chg="modSp add del">
        <pc:chgData name="Chandramouli, Devaki (Nokia - US/Dallas)" userId="S::devaki.chandramouli@nokia.com::ebf2a9f8-651b-4485-926f-9d93c0eafbc5" providerId="AD" clId="Web-{51790CD4-CE54-70DE-9DA2-C4505DCFF181}" dt="2022-09-03T21:37:04.012" v="232" actId="20577"/>
        <pc:sldMkLst>
          <pc:docMk/>
          <pc:sldMk cId="2009724111" sldId="2134805617"/>
        </pc:sldMkLst>
        <pc:spChg chg="mod">
          <ac:chgData name="Chandramouli, Devaki (Nokia - US/Dallas)" userId="S::devaki.chandramouli@nokia.com::ebf2a9f8-651b-4485-926f-9d93c0eafbc5" providerId="AD" clId="Web-{51790CD4-CE54-70DE-9DA2-C4505DCFF181}" dt="2022-09-03T21:37:04.012" v="232" actId="20577"/>
          <ac:spMkLst>
            <pc:docMk/>
            <pc:sldMk cId="2009724111" sldId="2134805617"/>
            <ac:spMk id="4" creationId="{FD9B9349-5219-4A4E-8125-7E6F849D4C07}"/>
          </ac:spMkLst>
        </pc:spChg>
      </pc:sldChg>
      <pc:sldChg chg="modSp">
        <pc:chgData name="Chandramouli, Devaki (Nokia - US/Dallas)" userId="S::devaki.chandramouli@nokia.com::ebf2a9f8-651b-4485-926f-9d93c0eafbc5" providerId="AD" clId="Web-{51790CD4-CE54-70DE-9DA2-C4505DCFF181}" dt="2022-09-03T21:35:36.959" v="200" actId="20577"/>
        <pc:sldMkLst>
          <pc:docMk/>
          <pc:sldMk cId="3974589309" sldId="2134805618"/>
        </pc:sldMkLst>
        <pc:spChg chg="mod">
          <ac:chgData name="Chandramouli, Devaki (Nokia - US/Dallas)" userId="S::devaki.chandramouli@nokia.com::ebf2a9f8-651b-4485-926f-9d93c0eafbc5" providerId="AD" clId="Web-{51790CD4-CE54-70DE-9DA2-C4505DCFF181}" dt="2022-09-03T21:35:36.959" v="200" actId="20577"/>
          <ac:spMkLst>
            <pc:docMk/>
            <pc:sldMk cId="3974589309" sldId="2134805618"/>
            <ac:spMk id="4" creationId="{FD9B9349-5219-4A4E-8125-7E6F849D4C07}"/>
          </ac:spMkLst>
        </pc:spChg>
      </pc:sldChg>
      <pc:sldChg chg="del">
        <pc:chgData name="Chandramouli, Devaki (Nokia - US/Dallas)" userId="S::devaki.chandramouli@nokia.com::ebf2a9f8-651b-4485-926f-9d93c0eafbc5" providerId="AD" clId="Web-{51790CD4-CE54-70DE-9DA2-C4505DCFF181}" dt="2022-09-03T21:24:24.352" v="71"/>
        <pc:sldMkLst>
          <pc:docMk/>
          <pc:sldMk cId="3048200957" sldId="2146846819"/>
        </pc:sldMkLst>
      </pc:sldChg>
      <pc:sldChg chg="del">
        <pc:chgData name="Chandramouli, Devaki (Nokia - US/Dallas)" userId="S::devaki.chandramouli@nokia.com::ebf2a9f8-651b-4485-926f-9d93c0eafbc5" providerId="AD" clId="Web-{51790CD4-CE54-70DE-9DA2-C4505DCFF181}" dt="2022-09-03T21:24:25.743" v="72"/>
        <pc:sldMkLst>
          <pc:docMk/>
          <pc:sldMk cId="3502002622" sldId="2146846820"/>
        </pc:sldMkLst>
      </pc:sldChg>
      <pc:sldChg chg="del">
        <pc:chgData name="Chandramouli, Devaki (Nokia - US/Dallas)" userId="S::devaki.chandramouli@nokia.com::ebf2a9f8-651b-4485-926f-9d93c0eafbc5" providerId="AD" clId="Web-{51790CD4-CE54-70DE-9DA2-C4505DCFF181}" dt="2022-09-03T21:24:27.696" v="73"/>
        <pc:sldMkLst>
          <pc:docMk/>
          <pc:sldMk cId="2894825228" sldId="2146846821"/>
        </pc:sldMkLst>
      </pc:sldChg>
      <pc:sldChg chg="del">
        <pc:chgData name="Chandramouli, Devaki (Nokia - US/Dallas)" userId="S::devaki.chandramouli@nokia.com::ebf2a9f8-651b-4485-926f-9d93c0eafbc5" providerId="AD" clId="Web-{51790CD4-CE54-70DE-9DA2-C4505DCFF181}" dt="2022-09-03T21:24:29.977" v="74"/>
        <pc:sldMkLst>
          <pc:docMk/>
          <pc:sldMk cId="164052409" sldId="2146846822"/>
        </pc:sldMkLst>
      </pc:sldChg>
      <pc:sldChg chg="modSp">
        <pc:chgData name="Chandramouli, Devaki (Nokia - US/Dallas)" userId="S::devaki.chandramouli@nokia.com::ebf2a9f8-651b-4485-926f-9d93c0eafbc5" providerId="AD" clId="Web-{51790CD4-CE54-70DE-9DA2-C4505DCFF181}" dt="2022-09-03T21:35:15.802" v="185" actId="20577"/>
        <pc:sldMkLst>
          <pc:docMk/>
          <pc:sldMk cId="158966349" sldId="2146846823"/>
        </pc:sldMkLst>
        <pc:spChg chg="mod">
          <ac:chgData name="Chandramouli, Devaki (Nokia - US/Dallas)" userId="S::devaki.chandramouli@nokia.com::ebf2a9f8-651b-4485-926f-9d93c0eafbc5" providerId="AD" clId="Web-{51790CD4-CE54-70DE-9DA2-C4505DCFF181}" dt="2022-09-03T21:35:15.802" v="185" actId="20577"/>
          <ac:spMkLst>
            <pc:docMk/>
            <pc:sldMk cId="158966349" sldId="2146846823"/>
            <ac:spMk id="2" creationId="{F70F07A9-7566-47FB-960B-B0CAB30102A8}"/>
          </ac:spMkLst>
        </pc:spChg>
        <pc:spChg chg="mod">
          <ac:chgData name="Chandramouli, Devaki (Nokia - US/Dallas)" userId="S::devaki.chandramouli@nokia.com::ebf2a9f8-651b-4485-926f-9d93c0eafbc5" providerId="AD" clId="Web-{51790CD4-CE54-70DE-9DA2-C4505DCFF181}" dt="2022-09-03T21:21:33.143" v="9" actId="20577"/>
          <ac:spMkLst>
            <pc:docMk/>
            <pc:sldMk cId="158966349" sldId="2146846823"/>
            <ac:spMk id="4" creationId="{FD9B9349-5219-4A4E-8125-7E6F849D4C07}"/>
          </ac:spMkLst>
        </pc:spChg>
      </pc:sldChg>
      <pc:sldChg chg="modSp">
        <pc:chgData name="Chandramouli, Devaki (Nokia - US/Dallas)" userId="S::devaki.chandramouli@nokia.com::ebf2a9f8-651b-4485-926f-9d93c0eafbc5" providerId="AD" clId="Web-{51790CD4-CE54-70DE-9DA2-C4505DCFF181}" dt="2022-09-03T21:36:11.694" v="221" actId="20577"/>
        <pc:sldMkLst>
          <pc:docMk/>
          <pc:sldMk cId="60323065" sldId="2146846882"/>
        </pc:sldMkLst>
        <pc:spChg chg="mod">
          <ac:chgData name="Chandramouli, Devaki (Nokia - US/Dallas)" userId="S::devaki.chandramouli@nokia.com::ebf2a9f8-651b-4485-926f-9d93c0eafbc5" providerId="AD" clId="Web-{51790CD4-CE54-70DE-9DA2-C4505DCFF181}" dt="2022-09-03T21:36:11.694" v="221" actId="20577"/>
          <ac:spMkLst>
            <pc:docMk/>
            <pc:sldMk cId="60323065" sldId="2146846882"/>
            <ac:spMk id="4" creationId="{FD9B9349-5219-4A4E-8125-7E6F849D4C07}"/>
          </ac:spMkLst>
        </pc:spChg>
      </pc:sldChg>
    </pc:docChg>
  </pc:docChgLst>
  <pc:docChgLst>
    <pc:chgData name="Hietalahti, Hannu (Nokia - FI/Oulu)" userId="bcd6d86d-9ffc-4aa1-b5a6-083a51dd89a7" providerId="ADAL" clId="{339A9B0A-5775-490D-8E73-EFE0BF8ECBC0}"/>
    <pc:docChg chg="custSel modSld">
      <pc:chgData name="Hietalahti, Hannu (Nokia - FI/Oulu)" userId="bcd6d86d-9ffc-4aa1-b5a6-083a51dd89a7" providerId="ADAL" clId="{339A9B0A-5775-490D-8E73-EFE0BF8ECBC0}" dt="2020-03-13T12:41:27.973" v="113" actId="20577"/>
      <pc:docMkLst>
        <pc:docMk/>
      </pc:docMkLst>
      <pc:sldChg chg="modSp">
        <pc:chgData name="Hietalahti, Hannu (Nokia - FI/Oulu)" userId="bcd6d86d-9ffc-4aa1-b5a6-083a51dd89a7" providerId="ADAL" clId="{339A9B0A-5775-490D-8E73-EFE0BF8ECBC0}" dt="2020-03-13T12:41:27.973" v="113" actId="20577"/>
        <pc:sldMkLst>
          <pc:docMk/>
          <pc:sldMk cId="1468411927" sldId="331"/>
        </pc:sldMkLst>
        <pc:spChg chg="mod">
          <ac:chgData name="Hietalahti, Hannu (Nokia - FI/Oulu)" userId="bcd6d86d-9ffc-4aa1-b5a6-083a51dd89a7" providerId="ADAL" clId="{339A9B0A-5775-490D-8E73-EFE0BF8ECBC0}" dt="2020-03-13T12:41:27.973" v="113" actId="20577"/>
          <ac:spMkLst>
            <pc:docMk/>
            <pc:sldMk cId="1468411927" sldId="331"/>
            <ac:spMk id="5" creationId="{A560F786-3A6C-41F0-99EF-DFF4DE7F777C}"/>
          </ac:spMkLst>
        </pc:spChg>
      </pc:sldChg>
    </pc:docChg>
  </pc:docChgLst>
  <pc:docChgLst>
    <pc:chgData name="Casati, Alessio (Nokia - GB)" userId="S::alessio.casati@nokia.com::6f050b0a-bf61-49f1-93be-076af52cf2e7" providerId="AD" clId="Web-{FBEBDE33-0966-E69D-0522-FBBD4B8369AC}"/>
    <pc:docChg chg="addSld modSld">
      <pc:chgData name="Casati, Alessio (Nokia - GB)" userId="S::alessio.casati@nokia.com::6f050b0a-bf61-49f1-93be-076af52cf2e7" providerId="AD" clId="Web-{FBEBDE33-0966-E69D-0522-FBBD4B8369AC}" dt="2022-09-02T14:59:37.998" v="74" actId="20577"/>
      <pc:docMkLst>
        <pc:docMk/>
      </pc:docMkLst>
      <pc:sldChg chg="modSp">
        <pc:chgData name="Casati, Alessio (Nokia - GB)" userId="S::alessio.casati@nokia.com::6f050b0a-bf61-49f1-93be-076af52cf2e7" providerId="AD" clId="Web-{FBEBDE33-0966-E69D-0522-FBBD4B8369AC}" dt="2022-09-02T14:58:55.075" v="66" actId="20577"/>
        <pc:sldMkLst>
          <pc:docMk/>
          <pc:sldMk cId="406647837" sldId="2146846905"/>
        </pc:sldMkLst>
        <pc:spChg chg="mod">
          <ac:chgData name="Casati, Alessio (Nokia - GB)" userId="S::alessio.casati@nokia.com::6f050b0a-bf61-49f1-93be-076af52cf2e7" providerId="AD" clId="Web-{FBEBDE33-0966-E69D-0522-FBBD4B8369AC}" dt="2022-09-02T14:58:55.075" v="66" actId="20577"/>
          <ac:spMkLst>
            <pc:docMk/>
            <pc:sldMk cId="406647837" sldId="2146846905"/>
            <ac:spMk id="6" creationId="{F9E5DC83-08AE-B38E-B1F8-610312A8D0EE}"/>
          </ac:spMkLst>
        </pc:spChg>
      </pc:sldChg>
      <pc:sldChg chg="modSp">
        <pc:chgData name="Casati, Alessio (Nokia - GB)" userId="S::alessio.casati@nokia.com::6f050b0a-bf61-49f1-93be-076af52cf2e7" providerId="AD" clId="Web-{FBEBDE33-0966-E69D-0522-FBBD4B8369AC}" dt="2022-09-02T14:59:19.356" v="72" actId="20577"/>
        <pc:sldMkLst>
          <pc:docMk/>
          <pc:sldMk cId="1879444782" sldId="2146846906"/>
        </pc:sldMkLst>
        <pc:spChg chg="mod">
          <ac:chgData name="Casati, Alessio (Nokia - GB)" userId="S::alessio.casati@nokia.com::6f050b0a-bf61-49f1-93be-076af52cf2e7" providerId="AD" clId="Web-{FBEBDE33-0966-E69D-0522-FBBD4B8369AC}" dt="2022-09-02T14:59:19.356" v="72" actId="20577"/>
          <ac:spMkLst>
            <pc:docMk/>
            <pc:sldMk cId="1879444782" sldId="2146846906"/>
            <ac:spMk id="6" creationId="{F9E5DC83-08AE-B38E-B1F8-610312A8D0EE}"/>
          </ac:spMkLst>
        </pc:spChg>
      </pc:sldChg>
      <pc:sldChg chg="modSp add replId">
        <pc:chgData name="Casati, Alessio (Nokia - GB)" userId="S::alessio.casati@nokia.com::6f050b0a-bf61-49f1-93be-076af52cf2e7" providerId="AD" clId="Web-{FBEBDE33-0966-E69D-0522-FBBD4B8369AC}" dt="2022-09-02T14:59:37.998" v="74" actId="20577"/>
        <pc:sldMkLst>
          <pc:docMk/>
          <pc:sldMk cId="2121231981" sldId="2146846907"/>
        </pc:sldMkLst>
        <pc:spChg chg="mod">
          <ac:chgData name="Casati, Alessio (Nokia - GB)" userId="S::alessio.casati@nokia.com::6f050b0a-bf61-49f1-93be-076af52cf2e7" providerId="AD" clId="Web-{FBEBDE33-0966-E69D-0522-FBBD4B8369AC}" dt="2022-09-02T14:59:37.998" v="74" actId="20577"/>
          <ac:spMkLst>
            <pc:docMk/>
            <pc:sldMk cId="2121231981" sldId="2146846907"/>
            <ac:spMk id="6" creationId="{F9E5DC83-08AE-B38E-B1F8-610312A8D0EE}"/>
          </ac:spMkLst>
        </pc:spChg>
      </pc:sldChg>
    </pc:docChg>
  </pc:docChgLst>
  <pc:docChgLst>
    <pc:chgData name="Alessio Casati (Nokia)" userId="S::alessio.casati@nokia.com::6f050b0a-bf61-49f1-93be-076af52cf2e7" providerId="AD" clId="Web-{A532FA89-BB43-387B-01FA-CBFCA1B65350}"/>
    <pc:docChg chg="addSld delSld modSld">
      <pc:chgData name="Alessio Casati (Nokia)" userId="S::alessio.casati@nokia.com::6f050b0a-bf61-49f1-93be-076af52cf2e7" providerId="AD" clId="Web-{A532FA89-BB43-387B-01FA-CBFCA1B65350}" dt="2022-12-01T13:07:44.302" v="210" actId="14100"/>
      <pc:docMkLst>
        <pc:docMk/>
      </pc:docMkLst>
      <pc:sldChg chg="modSp">
        <pc:chgData name="Alessio Casati (Nokia)" userId="S::alessio.casati@nokia.com::6f050b0a-bf61-49f1-93be-076af52cf2e7" providerId="AD" clId="Web-{A532FA89-BB43-387B-01FA-CBFCA1B65350}" dt="2022-12-01T13:02:00.573" v="141" actId="20577"/>
        <pc:sldMkLst>
          <pc:docMk/>
          <pc:sldMk cId="31144451" sldId="2146846844"/>
        </pc:sldMkLst>
        <pc:spChg chg="mod">
          <ac:chgData name="Alessio Casati (Nokia)" userId="S::alessio.casati@nokia.com::6f050b0a-bf61-49f1-93be-076af52cf2e7" providerId="AD" clId="Web-{A532FA89-BB43-387B-01FA-CBFCA1B65350}" dt="2022-12-01T13:02:00.573" v="141" actId="20577"/>
          <ac:spMkLst>
            <pc:docMk/>
            <pc:sldMk cId="31144451" sldId="2146846844"/>
            <ac:spMk id="5" creationId="{BCDEC535-7E3A-FE76-6A95-6077FF45D700}"/>
          </ac:spMkLst>
        </pc:spChg>
      </pc:sldChg>
      <pc:sldChg chg="modSp">
        <pc:chgData name="Alessio Casati (Nokia)" userId="S::alessio.casati@nokia.com::6f050b0a-bf61-49f1-93be-076af52cf2e7" providerId="AD" clId="Web-{A532FA89-BB43-387B-01FA-CBFCA1B65350}" dt="2022-12-01T13:07:39.864" v="209" actId="14100"/>
        <pc:sldMkLst>
          <pc:docMk/>
          <pc:sldMk cId="1458889007" sldId="2146846846"/>
        </pc:sldMkLst>
        <pc:spChg chg="mod">
          <ac:chgData name="Alessio Casati (Nokia)" userId="S::alessio.casati@nokia.com::6f050b0a-bf61-49f1-93be-076af52cf2e7" providerId="AD" clId="Web-{A532FA89-BB43-387B-01FA-CBFCA1B65350}" dt="2022-12-01T13:07:39.864" v="209" actId="14100"/>
          <ac:spMkLst>
            <pc:docMk/>
            <pc:sldMk cId="1458889007" sldId="2146846846"/>
            <ac:spMk id="5" creationId="{0C804294-7343-7D16-D01C-4130A85D2CB2}"/>
          </ac:spMkLst>
        </pc:spChg>
      </pc:sldChg>
      <pc:sldChg chg="modSp">
        <pc:chgData name="Alessio Casati (Nokia)" userId="S::alessio.casati@nokia.com::6f050b0a-bf61-49f1-93be-076af52cf2e7" providerId="AD" clId="Web-{A532FA89-BB43-387B-01FA-CBFCA1B65350}" dt="2022-12-01T13:01:28.431" v="130" actId="20577"/>
        <pc:sldMkLst>
          <pc:docMk/>
          <pc:sldMk cId="2047454418" sldId="2146846898"/>
        </pc:sldMkLst>
        <pc:spChg chg="mod">
          <ac:chgData name="Alessio Casati (Nokia)" userId="S::alessio.casati@nokia.com::6f050b0a-bf61-49f1-93be-076af52cf2e7" providerId="AD" clId="Web-{A532FA89-BB43-387B-01FA-CBFCA1B65350}" dt="2022-12-01T13:01:28.431" v="130" actId="20577"/>
          <ac:spMkLst>
            <pc:docMk/>
            <pc:sldMk cId="2047454418" sldId="2146846898"/>
            <ac:spMk id="4" creationId="{CD72C33D-DF40-4601-AF02-8DFD5A6EA958}"/>
          </ac:spMkLst>
        </pc:spChg>
      </pc:sldChg>
      <pc:sldChg chg="del">
        <pc:chgData name="Alessio Casati (Nokia)" userId="S::alessio.casati@nokia.com::6f050b0a-bf61-49f1-93be-076af52cf2e7" providerId="AD" clId="Web-{A532FA89-BB43-387B-01FA-CBFCA1B65350}" dt="2022-12-01T13:06:42.362" v="189"/>
        <pc:sldMkLst>
          <pc:docMk/>
          <pc:sldMk cId="3041627190" sldId="2146846899"/>
        </pc:sldMkLst>
      </pc:sldChg>
      <pc:sldChg chg="del">
        <pc:chgData name="Alessio Casati (Nokia)" userId="S::alessio.casati@nokia.com::6f050b0a-bf61-49f1-93be-076af52cf2e7" providerId="AD" clId="Web-{A532FA89-BB43-387B-01FA-CBFCA1B65350}" dt="2022-12-01T13:06:39.175" v="188"/>
        <pc:sldMkLst>
          <pc:docMk/>
          <pc:sldMk cId="3865628529" sldId="2146846901"/>
        </pc:sldMkLst>
      </pc:sldChg>
      <pc:sldChg chg="del">
        <pc:chgData name="Alessio Casati (Nokia)" userId="S::alessio.casati@nokia.com::6f050b0a-bf61-49f1-93be-076af52cf2e7" providerId="AD" clId="Web-{A532FA89-BB43-387B-01FA-CBFCA1B65350}" dt="2022-12-01T13:06:44.362" v="190"/>
        <pc:sldMkLst>
          <pc:docMk/>
          <pc:sldMk cId="3880470175" sldId="2146846903"/>
        </pc:sldMkLst>
      </pc:sldChg>
      <pc:sldChg chg="del">
        <pc:chgData name="Alessio Casati (Nokia)" userId="S::alessio.casati@nokia.com::6f050b0a-bf61-49f1-93be-076af52cf2e7" providerId="AD" clId="Web-{A532FA89-BB43-387B-01FA-CBFCA1B65350}" dt="2022-12-01T13:06:49.112" v="191"/>
        <pc:sldMkLst>
          <pc:docMk/>
          <pc:sldMk cId="2281785341" sldId="2146846904"/>
        </pc:sldMkLst>
      </pc:sldChg>
      <pc:sldChg chg="modSp">
        <pc:chgData name="Alessio Casati (Nokia)" userId="S::alessio.casati@nokia.com::6f050b0a-bf61-49f1-93be-076af52cf2e7" providerId="AD" clId="Web-{A532FA89-BB43-387B-01FA-CBFCA1B65350}" dt="2022-12-01T12:56:12.765" v="47" actId="20577"/>
        <pc:sldMkLst>
          <pc:docMk/>
          <pc:sldMk cId="406647837" sldId="2146846905"/>
        </pc:sldMkLst>
        <pc:spChg chg="mod">
          <ac:chgData name="Alessio Casati (Nokia)" userId="S::alessio.casati@nokia.com::6f050b0a-bf61-49f1-93be-076af52cf2e7" providerId="AD" clId="Web-{A532FA89-BB43-387B-01FA-CBFCA1B65350}" dt="2022-12-01T12:56:12.765" v="47" actId="20577"/>
          <ac:spMkLst>
            <pc:docMk/>
            <pc:sldMk cId="406647837" sldId="2146846905"/>
            <ac:spMk id="6" creationId="{F9E5DC83-08AE-B38E-B1F8-610312A8D0EE}"/>
          </ac:spMkLst>
        </pc:spChg>
      </pc:sldChg>
      <pc:sldChg chg="del">
        <pc:chgData name="Alessio Casati (Nokia)" userId="S::alessio.casati@nokia.com::6f050b0a-bf61-49f1-93be-076af52cf2e7" providerId="AD" clId="Web-{A532FA89-BB43-387B-01FA-CBFCA1B65350}" dt="2022-12-01T12:56:56.376" v="52"/>
        <pc:sldMkLst>
          <pc:docMk/>
          <pc:sldMk cId="1879444782" sldId="2146846906"/>
        </pc:sldMkLst>
      </pc:sldChg>
      <pc:sldChg chg="del">
        <pc:chgData name="Alessio Casati (Nokia)" userId="S::alessio.casati@nokia.com::6f050b0a-bf61-49f1-93be-076af52cf2e7" providerId="AD" clId="Web-{A532FA89-BB43-387B-01FA-CBFCA1B65350}" dt="2022-12-01T12:57:00.110" v="53"/>
        <pc:sldMkLst>
          <pc:docMk/>
          <pc:sldMk cId="2121231981" sldId="2146846907"/>
        </pc:sldMkLst>
      </pc:sldChg>
      <pc:sldChg chg="modSp add replId">
        <pc:chgData name="Alessio Casati (Nokia)" userId="S::alessio.casati@nokia.com::6f050b0a-bf61-49f1-93be-076af52cf2e7" providerId="AD" clId="Web-{A532FA89-BB43-387B-01FA-CBFCA1B65350}" dt="2022-12-01T12:56:24.891" v="51" actId="20577"/>
        <pc:sldMkLst>
          <pc:docMk/>
          <pc:sldMk cId="943752710" sldId="2146846957"/>
        </pc:sldMkLst>
        <pc:spChg chg="mod">
          <ac:chgData name="Alessio Casati (Nokia)" userId="S::alessio.casati@nokia.com::6f050b0a-bf61-49f1-93be-076af52cf2e7" providerId="AD" clId="Web-{A532FA89-BB43-387B-01FA-CBFCA1B65350}" dt="2022-12-01T12:56:24.891" v="51" actId="20577"/>
          <ac:spMkLst>
            <pc:docMk/>
            <pc:sldMk cId="943752710" sldId="2146846957"/>
            <ac:spMk id="6" creationId="{F9E5DC83-08AE-B38E-B1F8-610312A8D0EE}"/>
          </ac:spMkLst>
        </pc:spChg>
      </pc:sldChg>
      <pc:sldChg chg="modSp add replId">
        <pc:chgData name="Alessio Casati (Nokia)" userId="S::alessio.casati@nokia.com::6f050b0a-bf61-49f1-93be-076af52cf2e7" providerId="AD" clId="Web-{A532FA89-BB43-387B-01FA-CBFCA1B65350}" dt="2022-12-01T13:07:44.302" v="210" actId="14100"/>
        <pc:sldMkLst>
          <pc:docMk/>
          <pc:sldMk cId="2423972254" sldId="2146846958"/>
        </pc:sldMkLst>
        <pc:spChg chg="mod">
          <ac:chgData name="Alessio Casati (Nokia)" userId="S::alessio.casati@nokia.com::6f050b0a-bf61-49f1-93be-076af52cf2e7" providerId="AD" clId="Web-{A532FA89-BB43-387B-01FA-CBFCA1B65350}" dt="2022-12-01T13:07:44.302" v="210" actId="14100"/>
          <ac:spMkLst>
            <pc:docMk/>
            <pc:sldMk cId="2423972254" sldId="2146846958"/>
            <ac:spMk id="5" creationId="{0C804294-7343-7D16-D01C-4130A85D2CB2}"/>
          </ac:spMkLst>
        </pc:spChg>
      </pc:sldChg>
    </pc:docChg>
  </pc:docChgLst>
  <pc:docChgLst>
    <pc:chgData name="Laurent Thiebaut (Nokia)" userId="5a0f83ef-4330-4e17-8828-eca8fc03b257" providerId="ADAL" clId="{2DA089A6-45A7-441B-A581-2C52C0DA5B71}"/>
    <pc:docChg chg="undo custSel addSld delSld modSld">
      <pc:chgData name="Laurent Thiebaut (Nokia)" userId="5a0f83ef-4330-4e17-8828-eca8fc03b257" providerId="ADAL" clId="{2DA089A6-45A7-441B-A581-2C52C0DA5B71}" dt="2022-12-06T16:41:06.343" v="42" actId="20577"/>
      <pc:docMkLst>
        <pc:docMk/>
      </pc:docMkLst>
      <pc:sldChg chg="add">
        <pc:chgData name="Laurent Thiebaut (Nokia)" userId="5a0f83ef-4330-4e17-8828-eca8fc03b257" providerId="ADAL" clId="{2DA089A6-45A7-441B-A581-2C52C0DA5B71}" dt="2022-12-06T15:27:41.372" v="5"/>
        <pc:sldMkLst>
          <pc:docMk/>
          <pc:sldMk cId="2556045850" sldId="2134805565"/>
        </pc:sldMkLst>
      </pc:sldChg>
      <pc:sldChg chg="del">
        <pc:chgData name="Laurent Thiebaut (Nokia)" userId="5a0f83ef-4330-4e17-8828-eca8fc03b257" providerId="ADAL" clId="{2DA089A6-45A7-441B-A581-2C52C0DA5B71}" dt="2022-12-06T15:27:26.217" v="4" actId="2696"/>
        <pc:sldMkLst>
          <pc:docMk/>
          <pc:sldMk cId="4008632245" sldId="2134805565"/>
        </pc:sldMkLst>
      </pc:sldChg>
      <pc:sldChg chg="modSp mod">
        <pc:chgData name="Laurent Thiebaut (Nokia)" userId="5a0f83ef-4330-4e17-8828-eca8fc03b257" providerId="ADAL" clId="{2DA089A6-45A7-441B-A581-2C52C0DA5B71}" dt="2022-12-06T16:41:06.343" v="42" actId="20577"/>
        <pc:sldMkLst>
          <pc:docMk/>
          <pc:sldMk cId="1533017053" sldId="2134805581"/>
        </pc:sldMkLst>
        <pc:spChg chg="mod">
          <ac:chgData name="Laurent Thiebaut (Nokia)" userId="5a0f83ef-4330-4e17-8828-eca8fc03b257" providerId="ADAL" clId="{2DA089A6-45A7-441B-A581-2C52C0DA5B71}" dt="2022-12-06T16:41:06.343" v="42" actId="20577"/>
          <ac:spMkLst>
            <pc:docMk/>
            <pc:sldMk cId="1533017053" sldId="2134805581"/>
            <ac:spMk id="6" creationId="{2E20DBE3-132B-4E49-9B12-D7A9DE1B1D38}"/>
          </ac:spMkLst>
        </pc:spChg>
      </pc:sldChg>
      <pc:sldChg chg="del">
        <pc:chgData name="Laurent Thiebaut (Nokia)" userId="5a0f83ef-4330-4e17-8828-eca8fc03b257" providerId="ADAL" clId="{2DA089A6-45A7-441B-A581-2C52C0DA5B71}" dt="2022-12-06T15:27:26.217" v="4" actId="2696"/>
        <pc:sldMkLst>
          <pc:docMk/>
          <pc:sldMk cId="134099598" sldId="2134805599"/>
        </pc:sldMkLst>
      </pc:sldChg>
      <pc:sldChg chg="add">
        <pc:chgData name="Laurent Thiebaut (Nokia)" userId="5a0f83ef-4330-4e17-8828-eca8fc03b257" providerId="ADAL" clId="{2DA089A6-45A7-441B-A581-2C52C0DA5B71}" dt="2022-12-06T15:27:41.372" v="5"/>
        <pc:sldMkLst>
          <pc:docMk/>
          <pc:sldMk cId="1465045959" sldId="2134805599"/>
        </pc:sldMkLst>
      </pc:sldChg>
      <pc:sldChg chg="add">
        <pc:chgData name="Laurent Thiebaut (Nokia)" userId="5a0f83ef-4330-4e17-8828-eca8fc03b257" providerId="ADAL" clId="{2DA089A6-45A7-441B-A581-2C52C0DA5B71}" dt="2022-12-06T15:27:41.372" v="5"/>
        <pc:sldMkLst>
          <pc:docMk/>
          <pc:sldMk cId="2618641370" sldId="2134805600"/>
        </pc:sldMkLst>
      </pc:sldChg>
      <pc:sldChg chg="add del">
        <pc:chgData name="Laurent Thiebaut (Nokia)" userId="5a0f83ef-4330-4e17-8828-eca8fc03b257" providerId="ADAL" clId="{2DA089A6-45A7-441B-A581-2C52C0DA5B71}" dt="2022-12-06T15:27:26.217" v="4" actId="2696"/>
        <pc:sldMkLst>
          <pc:docMk/>
          <pc:sldMk cId="2843296580" sldId="2134805600"/>
        </pc:sldMkLst>
      </pc:sldChg>
      <pc:sldChg chg="addSp delSp del mod">
        <pc:chgData name="Laurent Thiebaut (Nokia)" userId="5a0f83ef-4330-4e17-8828-eca8fc03b257" providerId="ADAL" clId="{2DA089A6-45A7-441B-A581-2C52C0DA5B71}" dt="2022-12-06T15:27:56.277" v="6" actId="2696"/>
        <pc:sldMkLst>
          <pc:docMk/>
          <pc:sldMk cId="1302172497" sldId="2134805601"/>
        </pc:sldMkLst>
        <pc:spChg chg="add del">
          <ac:chgData name="Laurent Thiebaut (Nokia)" userId="5a0f83ef-4330-4e17-8828-eca8fc03b257" providerId="ADAL" clId="{2DA089A6-45A7-441B-A581-2C52C0DA5B71}" dt="2022-12-06T15:26:47.190" v="1" actId="22"/>
          <ac:spMkLst>
            <pc:docMk/>
            <pc:sldMk cId="1302172497" sldId="2134805601"/>
            <ac:spMk id="5" creationId="{F55ABEAE-F0A0-4147-A026-700D5D3EDFB9}"/>
          </ac:spMkLst>
        </pc:spChg>
      </pc:sldChg>
      <pc:sldChg chg="add">
        <pc:chgData name="Laurent Thiebaut (Nokia)" userId="5a0f83ef-4330-4e17-8828-eca8fc03b257" providerId="ADAL" clId="{2DA089A6-45A7-441B-A581-2C52C0DA5B71}" dt="2022-12-06T15:28:08.079" v="7"/>
        <pc:sldMkLst>
          <pc:docMk/>
          <pc:sldMk cId="2852115066" sldId="2134805601"/>
        </pc:sldMkLst>
      </pc:sldChg>
      <pc:sldChg chg="del">
        <pc:chgData name="Laurent Thiebaut (Nokia)" userId="5a0f83ef-4330-4e17-8828-eca8fc03b257" providerId="ADAL" clId="{2DA089A6-45A7-441B-A581-2C52C0DA5B71}" dt="2022-12-06T15:27:56.277" v="6" actId="2696"/>
        <pc:sldMkLst>
          <pc:docMk/>
          <pc:sldMk cId="765254280" sldId="2146846794"/>
        </pc:sldMkLst>
      </pc:sldChg>
      <pc:sldChg chg="add">
        <pc:chgData name="Laurent Thiebaut (Nokia)" userId="5a0f83ef-4330-4e17-8828-eca8fc03b257" providerId="ADAL" clId="{2DA089A6-45A7-441B-A581-2C52C0DA5B71}" dt="2022-12-06T15:28:08.079" v="7"/>
        <pc:sldMkLst>
          <pc:docMk/>
          <pc:sldMk cId="3001884198" sldId="2146846794"/>
        </pc:sldMkLst>
      </pc:sldChg>
      <pc:sldChg chg="add">
        <pc:chgData name="Laurent Thiebaut (Nokia)" userId="5a0f83ef-4330-4e17-8828-eca8fc03b257" providerId="ADAL" clId="{2DA089A6-45A7-441B-A581-2C52C0DA5B71}" dt="2022-12-06T15:27:41.372" v="5"/>
        <pc:sldMkLst>
          <pc:docMk/>
          <pc:sldMk cId="1112549390" sldId="2146846837"/>
        </pc:sldMkLst>
      </pc:sldChg>
      <pc:sldChg chg="add del">
        <pc:chgData name="Laurent Thiebaut (Nokia)" userId="5a0f83ef-4330-4e17-8828-eca8fc03b257" providerId="ADAL" clId="{2DA089A6-45A7-441B-A581-2C52C0DA5B71}" dt="2022-12-06T15:27:26.217" v="4" actId="2696"/>
        <pc:sldMkLst>
          <pc:docMk/>
          <pc:sldMk cId="2701995069" sldId="2146846837"/>
        </pc:sldMkLst>
      </pc:sldChg>
      <pc:sldChg chg="add del">
        <pc:chgData name="Laurent Thiebaut (Nokia)" userId="5a0f83ef-4330-4e17-8828-eca8fc03b257" providerId="ADAL" clId="{2DA089A6-45A7-441B-A581-2C52C0DA5B71}" dt="2022-12-06T15:27:26.217" v="4" actId="2696"/>
        <pc:sldMkLst>
          <pc:docMk/>
          <pc:sldMk cId="1207088858" sldId="2146846838"/>
        </pc:sldMkLst>
      </pc:sldChg>
      <pc:sldChg chg="add">
        <pc:chgData name="Laurent Thiebaut (Nokia)" userId="5a0f83ef-4330-4e17-8828-eca8fc03b257" providerId="ADAL" clId="{2DA089A6-45A7-441B-A581-2C52C0DA5B71}" dt="2022-12-06T15:27:41.372" v="5"/>
        <pc:sldMkLst>
          <pc:docMk/>
          <pc:sldMk cId="4071119503" sldId="2146846838"/>
        </pc:sldMkLst>
      </pc:sldChg>
      <pc:sldChg chg="add">
        <pc:chgData name="Laurent Thiebaut (Nokia)" userId="5a0f83ef-4330-4e17-8828-eca8fc03b257" providerId="ADAL" clId="{2DA089A6-45A7-441B-A581-2C52C0DA5B71}" dt="2022-12-06T15:27:41.372" v="5"/>
        <pc:sldMkLst>
          <pc:docMk/>
          <pc:sldMk cId="91469877" sldId="2146846839"/>
        </pc:sldMkLst>
      </pc:sldChg>
      <pc:sldChg chg="add del">
        <pc:chgData name="Laurent Thiebaut (Nokia)" userId="5a0f83ef-4330-4e17-8828-eca8fc03b257" providerId="ADAL" clId="{2DA089A6-45A7-441B-A581-2C52C0DA5B71}" dt="2022-12-06T15:27:26.217" v="4" actId="2696"/>
        <pc:sldMkLst>
          <pc:docMk/>
          <pc:sldMk cId="3243838235" sldId="2146846839"/>
        </pc:sldMkLst>
      </pc:sldChg>
      <pc:sldChg chg="add">
        <pc:chgData name="Laurent Thiebaut (Nokia)" userId="5a0f83ef-4330-4e17-8828-eca8fc03b257" providerId="ADAL" clId="{2DA089A6-45A7-441B-A581-2C52C0DA5B71}" dt="2022-12-06T15:27:41.372" v="5"/>
        <pc:sldMkLst>
          <pc:docMk/>
          <pc:sldMk cId="1709610249" sldId="2146846841"/>
        </pc:sldMkLst>
      </pc:sldChg>
      <pc:sldChg chg="add del">
        <pc:chgData name="Laurent Thiebaut (Nokia)" userId="5a0f83ef-4330-4e17-8828-eca8fc03b257" providerId="ADAL" clId="{2DA089A6-45A7-441B-A581-2C52C0DA5B71}" dt="2022-12-06T15:27:26.217" v="4" actId="2696"/>
        <pc:sldMkLst>
          <pc:docMk/>
          <pc:sldMk cId="3193373667" sldId="2146846841"/>
        </pc:sldMkLst>
      </pc:sldChg>
      <pc:sldChg chg="add del">
        <pc:chgData name="Laurent Thiebaut (Nokia)" userId="5a0f83ef-4330-4e17-8828-eca8fc03b257" providerId="ADAL" clId="{2DA089A6-45A7-441B-A581-2C52C0DA5B71}" dt="2022-12-06T15:27:26.217" v="4" actId="2696"/>
        <pc:sldMkLst>
          <pc:docMk/>
          <pc:sldMk cId="867239777" sldId="2146846842"/>
        </pc:sldMkLst>
      </pc:sldChg>
      <pc:sldChg chg="add">
        <pc:chgData name="Laurent Thiebaut (Nokia)" userId="5a0f83ef-4330-4e17-8828-eca8fc03b257" providerId="ADAL" clId="{2DA089A6-45A7-441B-A581-2C52C0DA5B71}" dt="2022-12-06T15:27:41.372" v="5"/>
        <pc:sldMkLst>
          <pc:docMk/>
          <pc:sldMk cId="3663191085" sldId="2146846842"/>
        </pc:sldMkLst>
      </pc:sldChg>
      <pc:sldChg chg="modSp add mod">
        <pc:chgData name="Laurent Thiebaut (Nokia)" userId="5a0f83ef-4330-4e17-8828-eca8fc03b257" providerId="ADAL" clId="{2DA089A6-45A7-441B-A581-2C52C0DA5B71}" dt="2022-12-06T16:03:41.230" v="33" actId="20577"/>
        <pc:sldMkLst>
          <pc:docMk/>
          <pc:sldMk cId="2043978815" sldId="2146846908"/>
        </pc:sldMkLst>
        <pc:spChg chg="mod">
          <ac:chgData name="Laurent Thiebaut (Nokia)" userId="5a0f83ef-4330-4e17-8828-eca8fc03b257" providerId="ADAL" clId="{2DA089A6-45A7-441B-A581-2C52C0DA5B71}" dt="2022-12-06T16:03:41.230" v="33" actId="20577"/>
          <ac:spMkLst>
            <pc:docMk/>
            <pc:sldMk cId="2043978815" sldId="2146846908"/>
            <ac:spMk id="2" creationId="{828AE646-029C-43F1-BE54-1B04A2DEF02D}"/>
          </ac:spMkLst>
        </pc:spChg>
      </pc:sldChg>
      <pc:sldChg chg="del">
        <pc:chgData name="Laurent Thiebaut (Nokia)" userId="5a0f83ef-4330-4e17-8828-eca8fc03b257" providerId="ADAL" clId="{2DA089A6-45A7-441B-A581-2C52C0DA5B71}" dt="2022-12-06T15:27:56.277" v="6" actId="2696"/>
        <pc:sldMkLst>
          <pc:docMk/>
          <pc:sldMk cId="3854435541" sldId="2146846908"/>
        </pc:sldMkLst>
      </pc:sldChg>
      <pc:sldChg chg="modSp add mod">
        <pc:chgData name="Laurent Thiebaut (Nokia)" userId="5a0f83ef-4330-4e17-8828-eca8fc03b257" providerId="ADAL" clId="{2DA089A6-45A7-441B-A581-2C52C0DA5B71}" dt="2022-12-06T16:12:24.538" v="38" actId="20577"/>
        <pc:sldMkLst>
          <pc:docMk/>
          <pc:sldMk cId="708562166" sldId="2146846909"/>
        </pc:sldMkLst>
        <pc:spChg chg="mod">
          <ac:chgData name="Laurent Thiebaut (Nokia)" userId="5a0f83ef-4330-4e17-8828-eca8fc03b257" providerId="ADAL" clId="{2DA089A6-45A7-441B-A581-2C52C0DA5B71}" dt="2022-12-06T16:12:24.538" v="38" actId="20577"/>
          <ac:spMkLst>
            <pc:docMk/>
            <pc:sldMk cId="708562166" sldId="2146846909"/>
            <ac:spMk id="2" creationId="{828AE646-029C-43F1-BE54-1B04A2DEF02D}"/>
          </ac:spMkLst>
        </pc:spChg>
      </pc:sldChg>
      <pc:sldChg chg="del">
        <pc:chgData name="Laurent Thiebaut (Nokia)" userId="5a0f83ef-4330-4e17-8828-eca8fc03b257" providerId="ADAL" clId="{2DA089A6-45A7-441B-A581-2C52C0DA5B71}" dt="2022-12-06T15:27:56.277" v="6" actId="2696"/>
        <pc:sldMkLst>
          <pc:docMk/>
          <pc:sldMk cId="2363355949" sldId="2146846909"/>
        </pc:sldMkLst>
      </pc:sldChg>
      <pc:sldChg chg="del">
        <pc:chgData name="Laurent Thiebaut (Nokia)" userId="5a0f83ef-4330-4e17-8828-eca8fc03b257" providerId="ADAL" clId="{2DA089A6-45A7-441B-A581-2C52C0DA5B71}" dt="2022-12-06T15:27:26.217" v="4" actId="2696"/>
        <pc:sldMkLst>
          <pc:docMk/>
          <pc:sldMk cId="2197479594" sldId="2146846944"/>
        </pc:sldMkLst>
      </pc:sldChg>
      <pc:sldChg chg="add">
        <pc:chgData name="Laurent Thiebaut (Nokia)" userId="5a0f83ef-4330-4e17-8828-eca8fc03b257" providerId="ADAL" clId="{2DA089A6-45A7-441B-A581-2C52C0DA5B71}" dt="2022-12-06T15:27:41.372" v="5"/>
        <pc:sldMkLst>
          <pc:docMk/>
          <pc:sldMk cId="4116191399" sldId="2146846944"/>
        </pc:sldMkLst>
      </pc:sldChg>
      <pc:sldChg chg="add">
        <pc:chgData name="Laurent Thiebaut (Nokia)" userId="5a0f83ef-4330-4e17-8828-eca8fc03b257" providerId="ADAL" clId="{2DA089A6-45A7-441B-A581-2C52C0DA5B71}" dt="2022-12-06T15:27:41.372" v="5"/>
        <pc:sldMkLst>
          <pc:docMk/>
          <pc:sldMk cId="1244849279" sldId="2146846954"/>
        </pc:sldMkLst>
      </pc:sldChg>
      <pc:sldChg chg="add del">
        <pc:chgData name="Laurent Thiebaut (Nokia)" userId="5a0f83ef-4330-4e17-8828-eca8fc03b257" providerId="ADAL" clId="{2DA089A6-45A7-441B-A581-2C52C0DA5B71}" dt="2022-12-06T15:27:26.217" v="4" actId="2696"/>
        <pc:sldMkLst>
          <pc:docMk/>
          <pc:sldMk cId="2989177604" sldId="2146846954"/>
        </pc:sldMkLst>
      </pc:sldChg>
      <pc:sldChg chg="del">
        <pc:chgData name="Laurent Thiebaut (Nokia)" userId="5a0f83ef-4330-4e17-8828-eca8fc03b257" providerId="ADAL" clId="{2DA089A6-45A7-441B-A581-2C52C0DA5B71}" dt="2022-12-06T15:27:56.277" v="6" actId="2696"/>
        <pc:sldMkLst>
          <pc:docMk/>
          <pc:sldMk cId="609310083" sldId="2146846955"/>
        </pc:sldMkLst>
      </pc:sldChg>
      <pc:sldChg chg="add">
        <pc:chgData name="Laurent Thiebaut (Nokia)" userId="5a0f83ef-4330-4e17-8828-eca8fc03b257" providerId="ADAL" clId="{2DA089A6-45A7-441B-A581-2C52C0DA5B71}" dt="2022-12-06T15:28:08.079" v="7"/>
        <pc:sldMkLst>
          <pc:docMk/>
          <pc:sldMk cId="2863261531" sldId="2146846955"/>
        </pc:sldMkLst>
      </pc:sldChg>
      <pc:sldChg chg="modSp mod">
        <pc:chgData name="Laurent Thiebaut (Nokia)" userId="5a0f83ef-4330-4e17-8828-eca8fc03b257" providerId="ADAL" clId="{2DA089A6-45A7-441B-A581-2C52C0DA5B71}" dt="2022-12-06T16:23:36.953" v="41" actId="20577"/>
        <pc:sldMkLst>
          <pc:docMk/>
          <pc:sldMk cId="1819300235" sldId="2146846962"/>
        </pc:sldMkLst>
        <pc:spChg chg="mod">
          <ac:chgData name="Laurent Thiebaut (Nokia)" userId="5a0f83ef-4330-4e17-8828-eca8fc03b257" providerId="ADAL" clId="{2DA089A6-45A7-441B-A581-2C52C0DA5B71}" dt="2022-12-06T16:23:36.953" v="41" actId="20577"/>
          <ac:spMkLst>
            <pc:docMk/>
            <pc:sldMk cId="1819300235" sldId="2146846962"/>
            <ac:spMk id="10" creationId="{FB17815A-60B6-42D8-9720-6AE98A1B851D}"/>
          </ac:spMkLst>
        </pc:spChg>
      </pc:sldChg>
    </pc:docChg>
  </pc:docChgLst>
  <pc:docChgLst>
    <pc:chgData name="Alessio Casati (Nokia)" userId="S::alessio.casati@nokia.com::6f050b0a-bf61-49f1-93be-076af52cf2e7" providerId="AD" clId="Web-{FC2A663C-3E31-56B4-155C-EC50A9B54D99}"/>
    <pc:docChg chg="modSld">
      <pc:chgData name="Alessio Casati (Nokia)" userId="S::alessio.casati@nokia.com::6f050b0a-bf61-49f1-93be-076af52cf2e7" providerId="AD" clId="Web-{FC2A663C-3E31-56B4-155C-EC50A9B54D99}" dt="2023-03-02T15:17:21.879" v="3" actId="20577"/>
      <pc:docMkLst>
        <pc:docMk/>
      </pc:docMkLst>
      <pc:sldChg chg="modSp">
        <pc:chgData name="Alessio Casati (Nokia)" userId="S::alessio.casati@nokia.com::6f050b0a-bf61-49f1-93be-076af52cf2e7" providerId="AD" clId="Web-{FC2A663C-3E31-56B4-155C-EC50A9B54D99}" dt="2023-03-02T15:17:21.879" v="3" actId="20577"/>
        <pc:sldMkLst>
          <pc:docMk/>
          <pc:sldMk cId="31144451" sldId="2146846844"/>
        </pc:sldMkLst>
        <pc:spChg chg="mod">
          <ac:chgData name="Alessio Casati (Nokia)" userId="S::alessio.casati@nokia.com::6f050b0a-bf61-49f1-93be-076af52cf2e7" providerId="AD" clId="Web-{FC2A663C-3E31-56B4-155C-EC50A9B54D99}" dt="2023-03-02T15:17:21.879" v="3" actId="20577"/>
          <ac:spMkLst>
            <pc:docMk/>
            <pc:sldMk cId="31144451" sldId="2146846844"/>
            <ac:spMk id="5" creationId="{BCDEC535-7E3A-FE76-6A95-6077FF45D700}"/>
          </ac:spMkLst>
        </pc:spChg>
      </pc:sldChg>
    </pc:docChg>
  </pc:docChgLst>
  <pc:docChgLst>
    <pc:chgData name="Chandramouli, Devaki (Nokia - US/Dallas)" userId="S::devaki.chandramouli@nokia.com::ebf2a9f8-651b-4485-926f-9d93c0eafbc5" providerId="AD" clId="Web-{4BF4ECF6-A92E-8AB5-D3BC-F66A14612769}"/>
    <pc:docChg chg="modSld">
      <pc:chgData name="Chandramouli, Devaki (Nokia - US/Dallas)" userId="S::devaki.chandramouli@nokia.com::ebf2a9f8-651b-4485-926f-9d93c0eafbc5" providerId="AD" clId="Web-{4BF4ECF6-A92E-8AB5-D3BC-F66A14612769}" dt="2020-03-03T05:42:27.169" v="348" actId="20577"/>
      <pc:docMkLst>
        <pc:docMk/>
      </pc:docMkLst>
      <pc:sldChg chg="modSp">
        <pc:chgData name="Chandramouli, Devaki (Nokia - US/Dallas)" userId="S::devaki.chandramouli@nokia.com::ebf2a9f8-651b-4485-926f-9d93c0eafbc5" providerId="AD" clId="Web-{4BF4ECF6-A92E-8AB5-D3BC-F66A14612769}" dt="2020-03-03T05:25:43.493" v="2" actId="20577"/>
        <pc:sldMkLst>
          <pc:docMk/>
          <pc:sldMk cId="1709557886" sldId="279"/>
        </pc:sldMkLst>
        <pc:spChg chg="mod">
          <ac:chgData name="Chandramouli, Devaki (Nokia - US/Dallas)" userId="S::devaki.chandramouli@nokia.com::ebf2a9f8-651b-4485-926f-9d93c0eafbc5" providerId="AD" clId="Web-{4BF4ECF6-A92E-8AB5-D3BC-F66A14612769}" dt="2020-03-03T05:25:43.493" v="2" actId="20577"/>
          <ac:spMkLst>
            <pc:docMk/>
            <pc:sldMk cId="1709557886" sldId="279"/>
            <ac:spMk id="5" creationId="{A560F786-3A6C-41F0-99EF-DFF4DE7F777C}"/>
          </ac:spMkLst>
        </pc:spChg>
      </pc:sldChg>
      <pc:sldChg chg="modSp">
        <pc:chgData name="Chandramouli, Devaki (Nokia - US/Dallas)" userId="S::devaki.chandramouli@nokia.com::ebf2a9f8-651b-4485-926f-9d93c0eafbc5" providerId="AD" clId="Web-{4BF4ECF6-A92E-8AB5-D3BC-F66A14612769}" dt="2020-03-03T05:39:45.419" v="315" actId="20577"/>
        <pc:sldMkLst>
          <pc:docMk/>
          <pc:sldMk cId="1389723289" sldId="280"/>
        </pc:sldMkLst>
        <pc:spChg chg="mod">
          <ac:chgData name="Chandramouli, Devaki (Nokia - US/Dallas)" userId="S::devaki.chandramouli@nokia.com::ebf2a9f8-651b-4485-926f-9d93c0eafbc5" providerId="AD" clId="Web-{4BF4ECF6-A92E-8AB5-D3BC-F66A14612769}" dt="2020-03-03T05:39:45.419" v="315" actId="20577"/>
          <ac:spMkLst>
            <pc:docMk/>
            <pc:sldMk cId="1389723289" sldId="280"/>
            <ac:spMk id="5" creationId="{A560F786-3A6C-41F0-99EF-DFF4DE7F777C}"/>
          </ac:spMkLst>
        </pc:spChg>
      </pc:sldChg>
      <pc:sldChg chg="modSp">
        <pc:chgData name="Chandramouli, Devaki (Nokia - US/Dallas)" userId="S::devaki.chandramouli@nokia.com::ebf2a9f8-651b-4485-926f-9d93c0eafbc5" providerId="AD" clId="Web-{4BF4ECF6-A92E-8AB5-D3BC-F66A14612769}" dt="2020-03-03T05:42:27.169" v="347" actId="20577"/>
        <pc:sldMkLst>
          <pc:docMk/>
          <pc:sldMk cId="2373054351" sldId="281"/>
        </pc:sldMkLst>
        <pc:spChg chg="mod">
          <ac:chgData name="Chandramouli, Devaki (Nokia - US/Dallas)" userId="S::devaki.chandramouli@nokia.com::ebf2a9f8-651b-4485-926f-9d93c0eafbc5" providerId="AD" clId="Web-{4BF4ECF6-A92E-8AB5-D3BC-F66A14612769}" dt="2020-03-03T05:42:27.169" v="347" actId="20577"/>
          <ac:spMkLst>
            <pc:docMk/>
            <pc:sldMk cId="2373054351" sldId="281"/>
            <ac:spMk id="5" creationId="{A560F786-3A6C-41F0-99EF-DFF4DE7F777C}"/>
          </ac:spMkLst>
        </pc:spChg>
      </pc:sldChg>
      <pc:sldChg chg="modSp">
        <pc:chgData name="Chandramouli, Devaki (Nokia - US/Dallas)" userId="S::devaki.chandramouli@nokia.com::ebf2a9f8-651b-4485-926f-9d93c0eafbc5" providerId="AD" clId="Web-{4BF4ECF6-A92E-8AB5-D3BC-F66A14612769}" dt="2020-03-03T05:25:48.227" v="6" actId="20577"/>
        <pc:sldMkLst>
          <pc:docMk/>
          <pc:sldMk cId="1172224137" sldId="287"/>
        </pc:sldMkLst>
        <pc:spChg chg="mod">
          <ac:chgData name="Chandramouli, Devaki (Nokia - US/Dallas)" userId="S::devaki.chandramouli@nokia.com::ebf2a9f8-651b-4485-926f-9d93c0eafbc5" providerId="AD" clId="Web-{4BF4ECF6-A92E-8AB5-D3BC-F66A14612769}" dt="2020-03-03T05:25:48.227" v="6" actId="20577"/>
          <ac:spMkLst>
            <pc:docMk/>
            <pc:sldMk cId="1172224137" sldId="287"/>
            <ac:spMk id="5" creationId="{A560F786-3A6C-41F0-99EF-DFF4DE7F777C}"/>
          </ac:spMkLst>
        </pc:spChg>
      </pc:sldChg>
      <pc:sldChg chg="modSp">
        <pc:chgData name="Chandramouli, Devaki (Nokia - US/Dallas)" userId="S::devaki.chandramouli@nokia.com::ebf2a9f8-651b-4485-926f-9d93c0eafbc5" providerId="AD" clId="Web-{4BF4ECF6-A92E-8AB5-D3BC-F66A14612769}" dt="2020-03-03T05:38:24.606" v="288" actId="20577"/>
        <pc:sldMkLst>
          <pc:docMk/>
          <pc:sldMk cId="2557244844" sldId="288"/>
        </pc:sldMkLst>
        <pc:spChg chg="mod">
          <ac:chgData name="Chandramouli, Devaki (Nokia - US/Dallas)" userId="S::devaki.chandramouli@nokia.com::ebf2a9f8-651b-4485-926f-9d93c0eafbc5" providerId="AD" clId="Web-{4BF4ECF6-A92E-8AB5-D3BC-F66A14612769}" dt="2020-03-03T05:38:24.606" v="288" actId="20577"/>
          <ac:spMkLst>
            <pc:docMk/>
            <pc:sldMk cId="2557244844" sldId="288"/>
            <ac:spMk id="5" creationId="{A560F786-3A6C-41F0-99EF-DFF4DE7F777C}"/>
          </ac:spMkLst>
        </pc:spChg>
      </pc:sldChg>
    </pc:docChg>
  </pc:docChgLst>
  <pc:docChgLst>
    <pc:chgData name="Laurent Thiebaut (Nokia)" userId="S::laurent.thiebaut@nokia.com::5a0f83ef-4330-4e17-8828-eca8fc03b257" providerId="AD" clId="Web-{3EC5F8C9-5A40-E0B6-458F-17E51EB5685F}"/>
    <pc:docChg chg="modSld">
      <pc:chgData name="Laurent Thiebaut (Nokia)" userId="S::laurent.thiebaut@nokia.com::5a0f83ef-4330-4e17-8828-eca8fc03b257" providerId="AD" clId="Web-{3EC5F8C9-5A40-E0B6-458F-17E51EB5685F}" dt="2022-11-25T17:15:46.634" v="30" actId="20577"/>
      <pc:docMkLst>
        <pc:docMk/>
      </pc:docMkLst>
      <pc:sldChg chg="modSp">
        <pc:chgData name="Laurent Thiebaut (Nokia)" userId="S::laurent.thiebaut@nokia.com::5a0f83ef-4330-4e17-8828-eca8fc03b257" providerId="AD" clId="Web-{3EC5F8C9-5A40-E0B6-458F-17E51EB5685F}" dt="2022-11-25T17:15:46.634" v="30" actId="20577"/>
        <pc:sldMkLst>
          <pc:docMk/>
          <pc:sldMk cId="2165169509" sldId="258"/>
        </pc:sldMkLst>
        <pc:spChg chg="mod">
          <ac:chgData name="Laurent Thiebaut (Nokia)" userId="S::laurent.thiebaut@nokia.com::5a0f83ef-4330-4e17-8828-eca8fc03b257" providerId="AD" clId="Web-{3EC5F8C9-5A40-E0B6-458F-17E51EB5685F}" dt="2022-11-25T17:15:46.634" v="30" actId="20577"/>
          <ac:spMkLst>
            <pc:docMk/>
            <pc:sldMk cId="2165169509" sldId="258"/>
            <ac:spMk id="3" creationId="{A4E748F3-52F3-4227-86AD-9C50826A6263}"/>
          </ac:spMkLst>
        </pc:spChg>
      </pc:sldChg>
    </pc:docChg>
  </pc:docChgLst>
  <pc:docChgLst>
    <pc:chgData name="Hannu Hietalahti (Nokia)" userId="bcd6d86d-9ffc-4aa1-b5a6-083a51dd89a7" providerId="ADAL" clId="{DB256E5D-812C-49F3-99E0-79253A92409C}"/>
    <pc:docChg chg="undo custSel addSld delSld modSld">
      <pc:chgData name="Hannu Hietalahti (Nokia)" userId="bcd6d86d-9ffc-4aa1-b5a6-083a51dd89a7" providerId="ADAL" clId="{DB256E5D-812C-49F3-99E0-79253A92409C}" dt="2023-03-02T09:12:56.247" v="5893" actId="20577"/>
      <pc:docMkLst>
        <pc:docMk/>
      </pc:docMkLst>
      <pc:sldChg chg="modSp mod">
        <pc:chgData name="Hannu Hietalahti (Nokia)" userId="bcd6d86d-9ffc-4aa1-b5a6-083a51dd89a7" providerId="ADAL" clId="{DB256E5D-812C-49F3-99E0-79253A92409C}" dt="2023-03-01T12:09:03.378" v="1" actId="20577"/>
        <pc:sldMkLst>
          <pc:docMk/>
          <pc:sldMk cId="2165169509" sldId="258"/>
        </pc:sldMkLst>
        <pc:spChg chg="mod">
          <ac:chgData name="Hannu Hietalahti (Nokia)" userId="bcd6d86d-9ffc-4aa1-b5a6-083a51dd89a7" providerId="ADAL" clId="{DB256E5D-812C-49F3-99E0-79253A92409C}" dt="2023-03-01T12:09:03.378" v="1" actId="20577"/>
          <ac:spMkLst>
            <pc:docMk/>
            <pc:sldMk cId="2165169509" sldId="258"/>
            <ac:spMk id="2" creationId="{673AE4A4-F521-4B46-BB77-BDFFF6278B02}"/>
          </ac:spMkLst>
        </pc:spChg>
      </pc:sldChg>
      <pc:sldChg chg="addSp modSp mod">
        <pc:chgData name="Hannu Hietalahti (Nokia)" userId="bcd6d86d-9ffc-4aa1-b5a6-083a51dd89a7" providerId="ADAL" clId="{DB256E5D-812C-49F3-99E0-79253A92409C}" dt="2023-03-01T12:48:38.228" v="484" actId="404"/>
        <pc:sldMkLst>
          <pc:docMk/>
          <pc:sldMk cId="2416036818" sldId="338"/>
        </pc:sldMkLst>
        <pc:spChg chg="mod">
          <ac:chgData name="Hannu Hietalahti (Nokia)" userId="bcd6d86d-9ffc-4aa1-b5a6-083a51dd89a7" providerId="ADAL" clId="{DB256E5D-812C-49F3-99E0-79253A92409C}" dt="2023-03-01T12:09:25.679" v="26" actId="20577"/>
          <ac:spMkLst>
            <pc:docMk/>
            <pc:sldMk cId="2416036818" sldId="338"/>
            <ac:spMk id="3" creationId="{85A38C5A-5EBC-4325-8F64-062DAE1CFEC0}"/>
          </ac:spMkLst>
        </pc:spChg>
        <pc:spChg chg="mod">
          <ac:chgData name="Hannu Hietalahti (Nokia)" userId="bcd6d86d-9ffc-4aa1-b5a6-083a51dd89a7" providerId="ADAL" clId="{DB256E5D-812C-49F3-99E0-79253A92409C}" dt="2023-03-01T12:09:13.046" v="3" actId="20577"/>
          <ac:spMkLst>
            <pc:docMk/>
            <pc:sldMk cId="2416036818" sldId="338"/>
            <ac:spMk id="4" creationId="{BD612997-8F8D-4939-8023-9B09970813F4}"/>
          </ac:spMkLst>
        </pc:spChg>
        <pc:spChg chg="mod">
          <ac:chgData name="Hannu Hietalahti (Nokia)" userId="bcd6d86d-9ffc-4aa1-b5a6-083a51dd89a7" providerId="ADAL" clId="{DB256E5D-812C-49F3-99E0-79253A92409C}" dt="2023-03-01T12:13:24.088" v="411" actId="6549"/>
          <ac:spMkLst>
            <pc:docMk/>
            <pc:sldMk cId="2416036818" sldId="338"/>
            <ac:spMk id="5" creationId="{0A813F0E-7224-42E6-A359-B5A9B05FEE7A}"/>
          </ac:spMkLst>
        </pc:spChg>
        <pc:spChg chg="add mod">
          <ac:chgData name="Hannu Hietalahti (Nokia)" userId="bcd6d86d-9ffc-4aa1-b5a6-083a51dd89a7" providerId="ADAL" clId="{DB256E5D-812C-49F3-99E0-79253A92409C}" dt="2023-03-01T12:48:38.228" v="484" actId="404"/>
          <ac:spMkLst>
            <pc:docMk/>
            <pc:sldMk cId="2416036818" sldId="338"/>
            <ac:spMk id="6" creationId="{1F0B4685-F92B-4FE4-B500-E8D7B05082F3}"/>
          </ac:spMkLst>
        </pc:spChg>
      </pc:sldChg>
      <pc:sldChg chg="addSp modSp">
        <pc:chgData name="Hannu Hietalahti (Nokia)" userId="bcd6d86d-9ffc-4aa1-b5a6-083a51dd89a7" providerId="ADAL" clId="{DB256E5D-812C-49F3-99E0-79253A92409C}" dt="2023-03-01T12:14:36.859" v="429"/>
        <pc:sldMkLst>
          <pc:docMk/>
          <pc:sldMk cId="775159258" sldId="2134805356"/>
        </pc:sldMkLst>
        <pc:spChg chg="add mod">
          <ac:chgData name="Hannu Hietalahti (Nokia)" userId="bcd6d86d-9ffc-4aa1-b5a6-083a51dd89a7" providerId="ADAL" clId="{DB256E5D-812C-49F3-99E0-79253A92409C}" dt="2023-03-01T12:14:36.859" v="429"/>
          <ac:spMkLst>
            <pc:docMk/>
            <pc:sldMk cId="775159258" sldId="2134805356"/>
            <ac:spMk id="10" creationId="{AADEC041-BCE3-4BCD-8742-8F30FCBE918E}"/>
          </ac:spMkLst>
        </pc:spChg>
      </pc:sldChg>
      <pc:sldChg chg="modSp mod">
        <pc:chgData name="Hannu Hietalahti (Nokia)" userId="bcd6d86d-9ffc-4aa1-b5a6-083a51dd89a7" providerId="ADAL" clId="{DB256E5D-812C-49F3-99E0-79253A92409C}" dt="2023-03-02T09:08:12.360" v="5811" actId="255"/>
        <pc:sldMkLst>
          <pc:docMk/>
          <pc:sldMk cId="1112549390" sldId="2146846837"/>
        </pc:sldMkLst>
        <pc:spChg chg="mod">
          <ac:chgData name="Hannu Hietalahti (Nokia)" userId="bcd6d86d-9ffc-4aa1-b5a6-083a51dd89a7" providerId="ADAL" clId="{DB256E5D-812C-49F3-99E0-79253A92409C}" dt="2023-03-02T09:08:12.360" v="5811" actId="255"/>
          <ac:spMkLst>
            <pc:docMk/>
            <pc:sldMk cId="1112549390" sldId="2146846837"/>
            <ac:spMk id="2" creationId="{F55F6DD9-9F73-4475-B4C0-0BD35C69E49D}"/>
          </ac:spMkLst>
        </pc:spChg>
        <pc:spChg chg="mod">
          <ac:chgData name="Hannu Hietalahti (Nokia)" userId="bcd6d86d-9ffc-4aa1-b5a6-083a51dd89a7" providerId="ADAL" clId="{DB256E5D-812C-49F3-99E0-79253A92409C}" dt="2023-03-02T09:06:26.018" v="5787" actId="20577"/>
          <ac:spMkLst>
            <pc:docMk/>
            <pc:sldMk cId="1112549390" sldId="2146846837"/>
            <ac:spMk id="3" creationId="{506A8607-C5AE-48A7-9AC8-7B6F426DD14D}"/>
          </ac:spMkLst>
        </pc:spChg>
        <pc:spChg chg="mod">
          <ac:chgData name="Hannu Hietalahti (Nokia)" userId="bcd6d86d-9ffc-4aa1-b5a6-083a51dd89a7" providerId="ADAL" clId="{DB256E5D-812C-49F3-99E0-79253A92409C}" dt="2023-03-02T07:46:39.458" v="3418" actId="20577"/>
          <ac:spMkLst>
            <pc:docMk/>
            <pc:sldMk cId="1112549390" sldId="2146846837"/>
            <ac:spMk id="4" creationId="{CD72C33D-DF40-4601-AF02-8DFD5A6EA958}"/>
          </ac:spMkLst>
        </pc:spChg>
      </pc:sldChg>
      <pc:sldChg chg="modSp mod">
        <pc:chgData name="Hannu Hietalahti (Nokia)" userId="bcd6d86d-9ffc-4aa1-b5a6-083a51dd89a7" providerId="ADAL" clId="{DB256E5D-812C-49F3-99E0-79253A92409C}" dt="2023-03-02T09:08:00.402" v="5809" actId="255"/>
        <pc:sldMkLst>
          <pc:docMk/>
          <pc:sldMk cId="4071119503" sldId="2146846838"/>
        </pc:sldMkLst>
        <pc:spChg chg="mod">
          <ac:chgData name="Hannu Hietalahti (Nokia)" userId="bcd6d86d-9ffc-4aa1-b5a6-083a51dd89a7" providerId="ADAL" clId="{DB256E5D-812C-49F3-99E0-79253A92409C}" dt="2023-03-02T09:08:00.402" v="5809" actId="255"/>
          <ac:spMkLst>
            <pc:docMk/>
            <pc:sldMk cId="4071119503" sldId="2146846838"/>
            <ac:spMk id="3" creationId="{5B84A4F0-57DA-4FC9-AEAC-815E3FF90221}"/>
          </ac:spMkLst>
        </pc:spChg>
        <pc:spChg chg="mod">
          <ac:chgData name="Hannu Hietalahti (Nokia)" userId="bcd6d86d-9ffc-4aa1-b5a6-083a51dd89a7" providerId="ADAL" clId="{DB256E5D-812C-49F3-99E0-79253A92409C}" dt="2023-03-02T09:05:20.528" v="5776" actId="20577"/>
          <ac:spMkLst>
            <pc:docMk/>
            <pc:sldMk cId="4071119503" sldId="2146846838"/>
            <ac:spMk id="4" creationId="{BDC7D266-0891-4430-9759-534065AEEEF3}"/>
          </ac:spMkLst>
        </pc:spChg>
        <pc:spChg chg="mod">
          <ac:chgData name="Hannu Hietalahti (Nokia)" userId="bcd6d86d-9ffc-4aa1-b5a6-083a51dd89a7" providerId="ADAL" clId="{DB256E5D-812C-49F3-99E0-79253A92409C}" dt="2023-03-01T13:45:09.049" v="2509" actId="20577"/>
          <ac:spMkLst>
            <pc:docMk/>
            <pc:sldMk cId="4071119503" sldId="2146846838"/>
            <ac:spMk id="5" creationId="{A560F786-3A6C-41F0-99EF-DFF4DE7F777C}"/>
          </ac:spMkLst>
        </pc:spChg>
      </pc:sldChg>
      <pc:sldChg chg="modSp mod">
        <pc:chgData name="Hannu Hietalahti (Nokia)" userId="bcd6d86d-9ffc-4aa1-b5a6-083a51dd89a7" providerId="ADAL" clId="{DB256E5D-812C-49F3-99E0-79253A92409C}" dt="2023-03-02T09:09:09.798" v="5846" actId="20577"/>
        <pc:sldMkLst>
          <pc:docMk/>
          <pc:sldMk cId="91469877" sldId="2146846839"/>
        </pc:sldMkLst>
        <pc:spChg chg="mod">
          <ac:chgData name="Hannu Hietalahti (Nokia)" userId="bcd6d86d-9ffc-4aa1-b5a6-083a51dd89a7" providerId="ADAL" clId="{DB256E5D-812C-49F3-99E0-79253A92409C}" dt="2023-03-02T09:07:48.690" v="5807" actId="255"/>
          <ac:spMkLst>
            <pc:docMk/>
            <pc:sldMk cId="91469877" sldId="2146846839"/>
            <ac:spMk id="2" creationId="{F55F6DD9-9F73-4475-B4C0-0BD35C69E49D}"/>
          </ac:spMkLst>
        </pc:spChg>
        <pc:spChg chg="mod">
          <ac:chgData name="Hannu Hietalahti (Nokia)" userId="bcd6d86d-9ffc-4aa1-b5a6-083a51dd89a7" providerId="ADAL" clId="{DB256E5D-812C-49F3-99E0-79253A92409C}" dt="2023-03-02T09:06:51.757" v="5794" actId="6549"/>
          <ac:spMkLst>
            <pc:docMk/>
            <pc:sldMk cId="91469877" sldId="2146846839"/>
            <ac:spMk id="3" creationId="{506A8607-C5AE-48A7-9AC8-7B6F426DD14D}"/>
          </ac:spMkLst>
        </pc:spChg>
        <pc:spChg chg="mod">
          <ac:chgData name="Hannu Hietalahti (Nokia)" userId="bcd6d86d-9ffc-4aa1-b5a6-083a51dd89a7" providerId="ADAL" clId="{DB256E5D-812C-49F3-99E0-79253A92409C}" dt="2023-03-02T09:09:09.798" v="5846" actId="20577"/>
          <ac:spMkLst>
            <pc:docMk/>
            <pc:sldMk cId="91469877" sldId="2146846839"/>
            <ac:spMk id="4" creationId="{CD72C33D-DF40-4601-AF02-8DFD5A6EA958}"/>
          </ac:spMkLst>
        </pc:spChg>
      </pc:sldChg>
      <pc:sldChg chg="modSp mod">
        <pc:chgData name="Hannu Hietalahti (Nokia)" userId="bcd6d86d-9ffc-4aa1-b5a6-083a51dd89a7" providerId="ADAL" clId="{DB256E5D-812C-49F3-99E0-79253A92409C}" dt="2023-03-02T09:10:34.285" v="5874" actId="255"/>
        <pc:sldMkLst>
          <pc:docMk/>
          <pc:sldMk cId="1709610249" sldId="2146846841"/>
        </pc:sldMkLst>
        <pc:spChg chg="mod">
          <ac:chgData name="Hannu Hietalahti (Nokia)" userId="bcd6d86d-9ffc-4aa1-b5a6-083a51dd89a7" providerId="ADAL" clId="{DB256E5D-812C-49F3-99E0-79253A92409C}" dt="2023-03-02T09:10:34.285" v="5874" actId="255"/>
          <ac:spMkLst>
            <pc:docMk/>
            <pc:sldMk cId="1709610249" sldId="2146846841"/>
            <ac:spMk id="2" creationId="{F55F6DD9-9F73-4475-B4C0-0BD35C69E49D}"/>
          </ac:spMkLst>
        </pc:spChg>
        <pc:spChg chg="mod">
          <ac:chgData name="Hannu Hietalahti (Nokia)" userId="bcd6d86d-9ffc-4aa1-b5a6-083a51dd89a7" providerId="ADAL" clId="{DB256E5D-812C-49F3-99E0-79253A92409C}" dt="2023-03-02T09:09:33.228" v="5856" actId="20577"/>
          <ac:spMkLst>
            <pc:docMk/>
            <pc:sldMk cId="1709610249" sldId="2146846841"/>
            <ac:spMk id="3" creationId="{506A8607-C5AE-48A7-9AC8-7B6F426DD14D}"/>
          </ac:spMkLst>
        </pc:spChg>
        <pc:spChg chg="mod">
          <ac:chgData name="Hannu Hietalahti (Nokia)" userId="bcd6d86d-9ffc-4aa1-b5a6-083a51dd89a7" providerId="ADAL" clId="{DB256E5D-812C-49F3-99E0-79253A92409C}" dt="2023-03-02T09:00:38.386" v="5744" actId="20577"/>
          <ac:spMkLst>
            <pc:docMk/>
            <pc:sldMk cId="1709610249" sldId="2146846841"/>
            <ac:spMk id="4" creationId="{CD72C33D-DF40-4601-AF02-8DFD5A6EA958}"/>
          </ac:spMkLst>
        </pc:spChg>
      </pc:sldChg>
      <pc:sldChg chg="del">
        <pc:chgData name="Hannu Hietalahti (Nokia)" userId="bcd6d86d-9ffc-4aa1-b5a6-083a51dd89a7" providerId="ADAL" clId="{DB256E5D-812C-49F3-99E0-79253A92409C}" dt="2023-03-02T07:59:25.358" v="3488" actId="47"/>
        <pc:sldMkLst>
          <pc:docMk/>
          <pc:sldMk cId="3663191085" sldId="2146846842"/>
        </pc:sldMkLst>
      </pc:sldChg>
      <pc:sldChg chg="addSp modSp mod">
        <pc:chgData name="Hannu Hietalahti (Nokia)" userId="bcd6d86d-9ffc-4aa1-b5a6-083a51dd89a7" providerId="ADAL" clId="{DB256E5D-812C-49F3-99E0-79253A92409C}" dt="2023-03-01T12:14:31.904" v="428" actId="1076"/>
        <pc:sldMkLst>
          <pc:docMk/>
          <pc:sldMk cId="945775949" sldId="2146846918"/>
        </pc:sldMkLst>
        <pc:spChg chg="add mod">
          <ac:chgData name="Hannu Hietalahti (Nokia)" userId="bcd6d86d-9ffc-4aa1-b5a6-083a51dd89a7" providerId="ADAL" clId="{DB256E5D-812C-49F3-99E0-79253A92409C}" dt="2023-03-01T12:14:31.904" v="428" actId="1076"/>
          <ac:spMkLst>
            <pc:docMk/>
            <pc:sldMk cId="945775949" sldId="2146846918"/>
            <ac:spMk id="2" creationId="{6D022F9A-2355-49D9-9476-5912F770B468}"/>
          </ac:spMkLst>
        </pc:spChg>
      </pc:sldChg>
      <pc:sldChg chg="modSp mod">
        <pc:chgData name="Hannu Hietalahti (Nokia)" userId="bcd6d86d-9ffc-4aa1-b5a6-083a51dd89a7" providerId="ADAL" clId="{DB256E5D-812C-49F3-99E0-79253A92409C}" dt="2023-03-02T09:12:56.247" v="5893" actId="20577"/>
        <pc:sldMkLst>
          <pc:docMk/>
          <pc:sldMk cId="1244849279" sldId="2146846954"/>
        </pc:sldMkLst>
        <pc:spChg chg="mod">
          <ac:chgData name="Hannu Hietalahti (Nokia)" userId="bcd6d86d-9ffc-4aa1-b5a6-083a51dd89a7" providerId="ADAL" clId="{DB256E5D-812C-49F3-99E0-79253A92409C}" dt="2023-03-01T13:57:05.115" v="3356" actId="20577"/>
          <ac:spMkLst>
            <pc:docMk/>
            <pc:sldMk cId="1244849279" sldId="2146846954"/>
            <ac:spMk id="4" creationId="{CD72C33D-DF40-4601-AF02-8DFD5A6EA958}"/>
          </ac:spMkLst>
        </pc:spChg>
        <pc:spChg chg="mod">
          <ac:chgData name="Hannu Hietalahti (Nokia)" userId="bcd6d86d-9ffc-4aa1-b5a6-083a51dd89a7" providerId="ADAL" clId="{DB256E5D-812C-49F3-99E0-79253A92409C}" dt="2023-03-02T09:12:56.247" v="5893" actId="20577"/>
          <ac:spMkLst>
            <pc:docMk/>
            <pc:sldMk cId="1244849279" sldId="2146846954"/>
            <ac:spMk id="7" creationId="{09834F37-5DE0-420F-B9B9-BC28BF127BA0}"/>
          </ac:spMkLst>
        </pc:spChg>
      </pc:sldChg>
      <pc:sldChg chg="modSp add mod">
        <pc:chgData name="Hannu Hietalahti (Nokia)" userId="bcd6d86d-9ffc-4aa1-b5a6-083a51dd89a7" providerId="ADAL" clId="{DB256E5D-812C-49F3-99E0-79253A92409C}" dt="2023-03-02T09:12:05.892" v="5888"/>
        <pc:sldMkLst>
          <pc:docMk/>
          <pc:sldMk cId="4258841280" sldId="2146846990"/>
        </pc:sldMkLst>
        <pc:spChg chg="mod">
          <ac:chgData name="Hannu Hietalahti (Nokia)" userId="bcd6d86d-9ffc-4aa1-b5a6-083a51dd89a7" providerId="ADAL" clId="{DB256E5D-812C-49F3-99E0-79253A92409C}" dt="2023-03-02T09:12:05.892" v="5888"/>
          <ac:spMkLst>
            <pc:docMk/>
            <pc:sldMk cId="4258841280" sldId="2146846990"/>
            <ac:spMk id="2" creationId="{F55F6DD9-9F73-4475-B4C0-0BD35C69E49D}"/>
          </ac:spMkLst>
        </pc:spChg>
        <pc:spChg chg="mod">
          <ac:chgData name="Hannu Hietalahti (Nokia)" userId="bcd6d86d-9ffc-4aa1-b5a6-083a51dd89a7" providerId="ADAL" clId="{DB256E5D-812C-49F3-99E0-79253A92409C}" dt="2023-03-02T09:11:45.462" v="5884" actId="20577"/>
          <ac:spMkLst>
            <pc:docMk/>
            <pc:sldMk cId="4258841280" sldId="2146846990"/>
            <ac:spMk id="3" creationId="{506A8607-C5AE-48A7-9AC8-7B6F426DD14D}"/>
          </ac:spMkLst>
        </pc:spChg>
        <pc:spChg chg="mod">
          <ac:chgData name="Hannu Hietalahti (Nokia)" userId="bcd6d86d-9ffc-4aa1-b5a6-083a51dd89a7" providerId="ADAL" clId="{DB256E5D-812C-49F3-99E0-79253A92409C}" dt="2023-03-02T09:01:28.741" v="5746" actId="403"/>
          <ac:spMkLst>
            <pc:docMk/>
            <pc:sldMk cId="4258841280" sldId="2146846990"/>
            <ac:spMk id="4" creationId="{CD72C33D-DF40-4601-AF02-8DFD5A6EA958}"/>
          </ac:spMkLst>
        </pc:spChg>
      </pc:sldChg>
    </pc:docChg>
  </pc:docChgLst>
  <pc:docChgLst>
    <pc:chgData name="Chandramouli, Devaki (Nokia - US/Dallas)" userId="ebf2a9f8-651b-4485-926f-9d93c0eafbc5" providerId="ADAL" clId="{F05388D9-2523-4BDB-93A1-66075A75EA7C}"/>
    <pc:docChg chg="undo custSel addSld modSld">
      <pc:chgData name="Chandramouli, Devaki (Nokia - US/Dallas)" userId="ebf2a9f8-651b-4485-926f-9d93c0eafbc5" providerId="ADAL" clId="{F05388D9-2523-4BDB-93A1-66075A75EA7C}" dt="2022-05-30T00:27:12.825" v="184" actId="20577"/>
      <pc:docMkLst>
        <pc:docMk/>
      </pc:docMkLst>
      <pc:sldChg chg="modSp mod">
        <pc:chgData name="Chandramouli, Devaki (Nokia - US/Dallas)" userId="ebf2a9f8-651b-4485-926f-9d93c0eafbc5" providerId="ADAL" clId="{F05388D9-2523-4BDB-93A1-66075A75EA7C}" dt="2022-05-30T00:12:34.913" v="24" actId="20577"/>
        <pc:sldMkLst>
          <pc:docMk/>
          <pc:sldMk cId="2165169509" sldId="258"/>
        </pc:sldMkLst>
        <pc:spChg chg="mod">
          <ac:chgData name="Chandramouli, Devaki (Nokia - US/Dallas)" userId="ebf2a9f8-651b-4485-926f-9d93c0eafbc5" providerId="ADAL" clId="{F05388D9-2523-4BDB-93A1-66075A75EA7C}" dt="2022-05-30T00:12:34.913" v="24" actId="20577"/>
          <ac:spMkLst>
            <pc:docMk/>
            <pc:sldMk cId="2165169509" sldId="258"/>
            <ac:spMk id="2" creationId="{673AE4A4-F521-4B46-BB77-BDFFF6278B02}"/>
          </ac:spMkLst>
        </pc:spChg>
      </pc:sldChg>
      <pc:sldChg chg="modSp mod">
        <pc:chgData name="Chandramouli, Devaki (Nokia - US/Dallas)" userId="ebf2a9f8-651b-4485-926f-9d93c0eafbc5" providerId="ADAL" clId="{F05388D9-2523-4BDB-93A1-66075A75EA7C}" dt="2022-05-30T00:12:29.923" v="22" actId="20577"/>
        <pc:sldMkLst>
          <pc:docMk/>
          <pc:sldMk cId="2416036818" sldId="338"/>
        </pc:sldMkLst>
        <pc:spChg chg="mod">
          <ac:chgData name="Chandramouli, Devaki (Nokia - US/Dallas)" userId="ebf2a9f8-651b-4485-926f-9d93c0eafbc5" providerId="ADAL" clId="{F05388D9-2523-4BDB-93A1-66075A75EA7C}" dt="2022-05-30T00:12:25.390" v="18" actId="20577"/>
          <ac:spMkLst>
            <pc:docMk/>
            <pc:sldMk cId="2416036818" sldId="338"/>
            <ac:spMk id="3" creationId="{85A38C5A-5EBC-4325-8F64-062DAE1CFEC0}"/>
          </ac:spMkLst>
        </pc:spChg>
        <pc:spChg chg="mod">
          <ac:chgData name="Chandramouli, Devaki (Nokia - US/Dallas)" userId="ebf2a9f8-651b-4485-926f-9d93c0eafbc5" providerId="ADAL" clId="{F05388D9-2523-4BDB-93A1-66075A75EA7C}" dt="2022-05-30T00:12:29.923" v="22" actId="20577"/>
          <ac:spMkLst>
            <pc:docMk/>
            <pc:sldMk cId="2416036818" sldId="338"/>
            <ac:spMk id="4" creationId="{BD612997-8F8D-4939-8023-9B09970813F4}"/>
          </ac:spMkLst>
        </pc:spChg>
        <pc:spChg chg="mod">
          <ac:chgData name="Chandramouli, Devaki (Nokia - US/Dallas)" userId="ebf2a9f8-651b-4485-926f-9d93c0eafbc5" providerId="ADAL" clId="{F05388D9-2523-4BDB-93A1-66075A75EA7C}" dt="2022-05-30T00:12:21.660" v="15" actId="12"/>
          <ac:spMkLst>
            <pc:docMk/>
            <pc:sldMk cId="2416036818" sldId="338"/>
            <ac:spMk id="5" creationId="{0A813F0E-7224-42E6-A359-B5A9B05FEE7A}"/>
          </ac:spMkLst>
        </pc:spChg>
      </pc:sldChg>
      <pc:sldChg chg="modSp mod">
        <pc:chgData name="Chandramouli, Devaki (Nokia - US/Dallas)" userId="ebf2a9f8-651b-4485-926f-9d93c0eafbc5" providerId="ADAL" clId="{F05388D9-2523-4BDB-93A1-66075A75EA7C}" dt="2022-05-30T00:13:50.191" v="35" actId="113"/>
        <pc:sldMkLst>
          <pc:docMk/>
          <pc:sldMk cId="1806586001" sldId="2134805614"/>
        </pc:sldMkLst>
        <pc:spChg chg="mod">
          <ac:chgData name="Chandramouli, Devaki (Nokia - US/Dallas)" userId="ebf2a9f8-651b-4485-926f-9d93c0eafbc5" providerId="ADAL" clId="{F05388D9-2523-4BDB-93A1-66075A75EA7C}" dt="2022-05-30T00:13:50.191" v="35" actId="113"/>
          <ac:spMkLst>
            <pc:docMk/>
            <pc:sldMk cId="1806586001" sldId="2134805614"/>
            <ac:spMk id="4" creationId="{FD9B9349-5219-4A4E-8125-7E6F849D4C07}"/>
          </ac:spMkLst>
        </pc:spChg>
      </pc:sldChg>
      <pc:sldChg chg="modSp mod">
        <pc:chgData name="Chandramouli, Devaki (Nokia - US/Dallas)" userId="ebf2a9f8-651b-4485-926f-9d93c0eafbc5" providerId="ADAL" clId="{F05388D9-2523-4BDB-93A1-66075A75EA7C}" dt="2022-05-30T00:14:41.603" v="51" actId="27636"/>
        <pc:sldMkLst>
          <pc:docMk/>
          <pc:sldMk cId="4258466691" sldId="2134805615"/>
        </pc:sldMkLst>
        <pc:spChg chg="mod">
          <ac:chgData name="Chandramouli, Devaki (Nokia - US/Dallas)" userId="ebf2a9f8-651b-4485-926f-9d93c0eafbc5" providerId="ADAL" clId="{F05388D9-2523-4BDB-93A1-66075A75EA7C}" dt="2022-05-30T00:14:41.603" v="51" actId="27636"/>
          <ac:spMkLst>
            <pc:docMk/>
            <pc:sldMk cId="4258466691" sldId="2134805615"/>
            <ac:spMk id="4" creationId="{FD9B9349-5219-4A4E-8125-7E6F849D4C07}"/>
          </ac:spMkLst>
        </pc:spChg>
      </pc:sldChg>
      <pc:sldChg chg="modSp mod">
        <pc:chgData name="Chandramouli, Devaki (Nokia - US/Dallas)" userId="ebf2a9f8-651b-4485-926f-9d93c0eafbc5" providerId="ADAL" clId="{F05388D9-2523-4BDB-93A1-66075A75EA7C}" dt="2022-05-30T00:15:24.774" v="58" actId="255"/>
        <pc:sldMkLst>
          <pc:docMk/>
          <pc:sldMk cId="2186302939" sldId="2134805616"/>
        </pc:sldMkLst>
        <pc:spChg chg="mod">
          <ac:chgData name="Chandramouli, Devaki (Nokia - US/Dallas)" userId="ebf2a9f8-651b-4485-926f-9d93c0eafbc5" providerId="ADAL" clId="{F05388D9-2523-4BDB-93A1-66075A75EA7C}" dt="2022-05-30T00:15:24.774" v="58" actId="255"/>
          <ac:spMkLst>
            <pc:docMk/>
            <pc:sldMk cId="2186302939" sldId="2134805616"/>
            <ac:spMk id="4" creationId="{FD9B9349-5219-4A4E-8125-7E6F849D4C07}"/>
          </ac:spMkLst>
        </pc:spChg>
      </pc:sldChg>
      <pc:sldChg chg="modSp mod">
        <pc:chgData name="Chandramouli, Devaki (Nokia - US/Dallas)" userId="ebf2a9f8-651b-4485-926f-9d93c0eafbc5" providerId="ADAL" clId="{F05388D9-2523-4BDB-93A1-66075A75EA7C}" dt="2022-05-30T00:27:12.825" v="184" actId="20577"/>
        <pc:sldMkLst>
          <pc:docMk/>
          <pc:sldMk cId="2009724111" sldId="2134805617"/>
        </pc:sldMkLst>
        <pc:spChg chg="mod">
          <ac:chgData name="Chandramouli, Devaki (Nokia - US/Dallas)" userId="ebf2a9f8-651b-4485-926f-9d93c0eafbc5" providerId="ADAL" clId="{F05388D9-2523-4BDB-93A1-66075A75EA7C}" dt="2022-05-30T00:27:12.825" v="184" actId="20577"/>
          <ac:spMkLst>
            <pc:docMk/>
            <pc:sldMk cId="2009724111" sldId="2134805617"/>
            <ac:spMk id="4" creationId="{FD9B9349-5219-4A4E-8125-7E6F849D4C07}"/>
          </ac:spMkLst>
        </pc:spChg>
      </pc:sldChg>
      <pc:sldChg chg="modSp mod">
        <pc:chgData name="Chandramouli, Devaki (Nokia - US/Dallas)" userId="ebf2a9f8-651b-4485-926f-9d93c0eafbc5" providerId="ADAL" clId="{F05388D9-2523-4BDB-93A1-66075A75EA7C}" dt="2022-05-30T00:26:25.413" v="161" actId="20577"/>
        <pc:sldMkLst>
          <pc:docMk/>
          <pc:sldMk cId="3974589309" sldId="2134805618"/>
        </pc:sldMkLst>
        <pc:spChg chg="mod">
          <ac:chgData name="Chandramouli, Devaki (Nokia - US/Dallas)" userId="ebf2a9f8-651b-4485-926f-9d93c0eafbc5" providerId="ADAL" clId="{F05388D9-2523-4BDB-93A1-66075A75EA7C}" dt="2022-05-30T00:26:25.413" v="161" actId="20577"/>
          <ac:spMkLst>
            <pc:docMk/>
            <pc:sldMk cId="3974589309" sldId="2134805618"/>
            <ac:spMk id="4" creationId="{FD9B9349-5219-4A4E-8125-7E6F849D4C07}"/>
          </ac:spMkLst>
        </pc:spChg>
      </pc:sldChg>
      <pc:sldChg chg="modSp mod">
        <pc:chgData name="Chandramouli, Devaki (Nokia - US/Dallas)" userId="ebf2a9f8-651b-4485-926f-9d93c0eafbc5" providerId="ADAL" clId="{F05388D9-2523-4BDB-93A1-66075A75EA7C}" dt="2022-05-30T00:22:57.669" v="132" actId="6549"/>
        <pc:sldMkLst>
          <pc:docMk/>
          <pc:sldMk cId="1862887054" sldId="2134805619"/>
        </pc:sldMkLst>
        <pc:spChg chg="mod">
          <ac:chgData name="Chandramouli, Devaki (Nokia - US/Dallas)" userId="ebf2a9f8-651b-4485-926f-9d93c0eafbc5" providerId="ADAL" clId="{F05388D9-2523-4BDB-93A1-66075A75EA7C}" dt="2022-05-30T00:22:57.669" v="132" actId="6549"/>
          <ac:spMkLst>
            <pc:docMk/>
            <pc:sldMk cId="1862887054" sldId="2134805619"/>
            <ac:spMk id="4" creationId="{FD9B9349-5219-4A4E-8125-7E6F849D4C07}"/>
          </ac:spMkLst>
        </pc:spChg>
      </pc:sldChg>
      <pc:sldChg chg="modSp mod">
        <pc:chgData name="Chandramouli, Devaki (Nokia - US/Dallas)" userId="ebf2a9f8-651b-4485-926f-9d93c0eafbc5" providerId="ADAL" clId="{F05388D9-2523-4BDB-93A1-66075A75EA7C}" dt="2022-05-30T00:25:01.608" v="136" actId="27636"/>
        <pc:sldMkLst>
          <pc:docMk/>
          <pc:sldMk cId="3800510262" sldId="2134805620"/>
        </pc:sldMkLst>
        <pc:spChg chg="mod">
          <ac:chgData name="Chandramouli, Devaki (Nokia - US/Dallas)" userId="ebf2a9f8-651b-4485-926f-9d93c0eafbc5" providerId="ADAL" clId="{F05388D9-2523-4BDB-93A1-66075A75EA7C}" dt="2022-05-30T00:25:01.608" v="136" actId="27636"/>
          <ac:spMkLst>
            <pc:docMk/>
            <pc:sldMk cId="3800510262" sldId="2134805620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05388D9-2523-4BDB-93A1-66075A75EA7C}" dt="2022-05-30T00:16:07.197" v="64" actId="255"/>
        <pc:sldMkLst>
          <pc:docMk/>
          <pc:sldMk cId="3048200957" sldId="2146846819"/>
        </pc:sldMkLst>
        <pc:spChg chg="mod">
          <ac:chgData name="Chandramouli, Devaki (Nokia - US/Dallas)" userId="ebf2a9f8-651b-4485-926f-9d93c0eafbc5" providerId="ADAL" clId="{F05388D9-2523-4BDB-93A1-66075A75EA7C}" dt="2022-05-30T00:16:07.197" v="64" actId="255"/>
          <ac:spMkLst>
            <pc:docMk/>
            <pc:sldMk cId="3048200957" sldId="2146846819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05388D9-2523-4BDB-93A1-66075A75EA7C}" dt="2022-05-30T00:16:30.959" v="71" actId="27636"/>
        <pc:sldMkLst>
          <pc:docMk/>
          <pc:sldMk cId="3502002622" sldId="2146846820"/>
        </pc:sldMkLst>
        <pc:spChg chg="mod">
          <ac:chgData name="Chandramouli, Devaki (Nokia - US/Dallas)" userId="ebf2a9f8-651b-4485-926f-9d93c0eafbc5" providerId="ADAL" clId="{F05388D9-2523-4BDB-93A1-66075A75EA7C}" dt="2022-05-30T00:16:30.959" v="71" actId="27636"/>
          <ac:spMkLst>
            <pc:docMk/>
            <pc:sldMk cId="3502002622" sldId="2146846820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05388D9-2523-4BDB-93A1-66075A75EA7C}" dt="2022-05-30T00:16:59.328" v="76" actId="255"/>
        <pc:sldMkLst>
          <pc:docMk/>
          <pc:sldMk cId="2894825228" sldId="2146846821"/>
        </pc:sldMkLst>
        <pc:spChg chg="mod">
          <ac:chgData name="Chandramouli, Devaki (Nokia - US/Dallas)" userId="ebf2a9f8-651b-4485-926f-9d93c0eafbc5" providerId="ADAL" clId="{F05388D9-2523-4BDB-93A1-66075A75EA7C}" dt="2022-05-30T00:16:59.328" v="76" actId="255"/>
          <ac:spMkLst>
            <pc:docMk/>
            <pc:sldMk cId="2894825228" sldId="2146846821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05388D9-2523-4BDB-93A1-66075A75EA7C}" dt="2022-05-30T00:17:28.568" v="82" actId="255"/>
        <pc:sldMkLst>
          <pc:docMk/>
          <pc:sldMk cId="164052409" sldId="2146846822"/>
        </pc:sldMkLst>
        <pc:spChg chg="mod">
          <ac:chgData name="Chandramouli, Devaki (Nokia - US/Dallas)" userId="ebf2a9f8-651b-4485-926f-9d93c0eafbc5" providerId="ADAL" clId="{F05388D9-2523-4BDB-93A1-66075A75EA7C}" dt="2022-05-30T00:17:28.568" v="82" actId="255"/>
          <ac:spMkLst>
            <pc:docMk/>
            <pc:sldMk cId="164052409" sldId="2146846822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05388D9-2523-4BDB-93A1-66075A75EA7C}" dt="2022-05-30T00:26:29.936" v="167" actId="20577"/>
        <pc:sldMkLst>
          <pc:docMk/>
          <pc:sldMk cId="158966349" sldId="2146846823"/>
        </pc:sldMkLst>
        <pc:spChg chg="mod">
          <ac:chgData name="Chandramouli, Devaki (Nokia - US/Dallas)" userId="ebf2a9f8-651b-4485-926f-9d93c0eafbc5" providerId="ADAL" clId="{F05388D9-2523-4BDB-93A1-66075A75EA7C}" dt="2022-05-30T00:26:29.936" v="167" actId="20577"/>
          <ac:spMkLst>
            <pc:docMk/>
            <pc:sldMk cId="158966349" sldId="2146846823"/>
            <ac:spMk id="4" creationId="{FD9B9349-5219-4A4E-8125-7E6F849D4C07}"/>
          </ac:spMkLst>
        </pc:spChg>
      </pc:sldChg>
      <pc:sldChg chg="modSp add mod">
        <pc:chgData name="Chandramouli, Devaki (Nokia - US/Dallas)" userId="ebf2a9f8-651b-4485-926f-9d93c0eafbc5" providerId="ADAL" clId="{F05388D9-2523-4BDB-93A1-66075A75EA7C}" dt="2022-05-30T00:25:49.687" v="155" actId="6549"/>
        <pc:sldMkLst>
          <pc:docMk/>
          <pc:sldMk cId="1034643308" sldId="2146846824"/>
        </pc:sldMkLst>
        <pc:spChg chg="mod">
          <ac:chgData name="Chandramouli, Devaki (Nokia - US/Dallas)" userId="ebf2a9f8-651b-4485-926f-9d93c0eafbc5" providerId="ADAL" clId="{F05388D9-2523-4BDB-93A1-66075A75EA7C}" dt="2022-05-30T00:25:49.687" v="155" actId="6549"/>
          <ac:spMkLst>
            <pc:docMk/>
            <pc:sldMk cId="1034643308" sldId="2146846824"/>
            <ac:spMk id="4" creationId="{FD9B9349-5219-4A4E-8125-7E6F849D4C07}"/>
          </ac:spMkLst>
        </pc:spChg>
      </pc:sldChg>
    </pc:docChg>
  </pc:docChgLst>
  <pc:docChgLst>
    <pc:chgData name="Jaddu, Suresh (Nokia - IN/Bangalore)" userId="S::suresh.jaddu@nokia.com::c0630d32-367d-46d5-b072-94b9da57b664" providerId="AD" clId="Web-{7879D5FB-C33A-F2D2-2C61-5801B3837C57}"/>
    <pc:docChg chg="modSld">
      <pc:chgData name="Jaddu, Suresh (Nokia - IN/Bangalore)" userId="S::suresh.jaddu@nokia.com::c0630d32-367d-46d5-b072-94b9da57b664" providerId="AD" clId="Web-{7879D5FB-C33A-F2D2-2C61-5801B3837C57}" dt="2022-03-08T07:17:38.551" v="0"/>
      <pc:docMkLst>
        <pc:docMk/>
      </pc:docMkLst>
      <pc:sldChg chg="addSp">
        <pc:chgData name="Jaddu, Suresh (Nokia - IN/Bangalore)" userId="S::suresh.jaddu@nokia.com::c0630d32-367d-46d5-b072-94b9da57b664" providerId="AD" clId="Web-{7879D5FB-C33A-F2D2-2C61-5801B3837C57}" dt="2022-03-08T07:17:38.551" v="0"/>
        <pc:sldMkLst>
          <pc:docMk/>
          <pc:sldMk cId="2165169509" sldId="258"/>
        </pc:sldMkLst>
        <pc:spChg chg="add">
          <ac:chgData name="Jaddu, Suresh (Nokia - IN/Bangalore)" userId="S::suresh.jaddu@nokia.com::c0630d32-367d-46d5-b072-94b9da57b664" providerId="AD" clId="Web-{7879D5FB-C33A-F2D2-2C61-5801B3837C57}" dt="2022-03-08T07:17:38.551" v="0"/>
          <ac:spMkLst>
            <pc:docMk/>
            <pc:sldMk cId="2165169509" sldId="258"/>
            <ac:spMk id="4" creationId="{E5DB03B9-AD75-4D15-A65A-AA01632F35B2}"/>
          </ac:spMkLst>
        </pc:spChg>
      </pc:sldChg>
    </pc:docChg>
  </pc:docChgLst>
  <pc:docChgLst>
    <pc:chgData name="Thiebaut, Laurent (Nokia - FR/Paris-Saclay)" userId="5a0f83ef-4330-4e17-8828-eca8fc03b257" providerId="ADAL" clId="{4DC8A3ED-5431-4D9B-BA0E-153F163E64EB}"/>
    <pc:docChg chg="undo redo custSel addSld delSld modSld sldOrd modMainMaster">
      <pc:chgData name="Thiebaut, Laurent (Nokia - FR/Paris-Saclay)" userId="5a0f83ef-4330-4e17-8828-eca8fc03b257" providerId="ADAL" clId="{4DC8A3ED-5431-4D9B-BA0E-153F163E64EB}" dt="2021-11-30T12:05:28.052" v="769"/>
      <pc:docMkLst>
        <pc:docMk/>
      </pc:docMkLst>
      <pc:sldChg chg="modSp mod">
        <pc:chgData name="Thiebaut, Laurent (Nokia - FR/Paris-Saclay)" userId="5a0f83ef-4330-4e17-8828-eca8fc03b257" providerId="ADAL" clId="{4DC8A3ED-5431-4D9B-BA0E-153F163E64EB}" dt="2021-11-29T10:00:58.874" v="143" actId="20577"/>
        <pc:sldMkLst>
          <pc:docMk/>
          <pc:sldMk cId="2165169509" sldId="258"/>
        </pc:sldMkLst>
        <pc:spChg chg="mod">
          <ac:chgData name="Thiebaut, Laurent (Nokia - FR/Paris-Saclay)" userId="5a0f83ef-4330-4e17-8828-eca8fc03b257" providerId="ADAL" clId="{4DC8A3ED-5431-4D9B-BA0E-153F163E64EB}" dt="2021-11-29T10:00:58.874" v="143" actId="20577"/>
          <ac:spMkLst>
            <pc:docMk/>
            <pc:sldMk cId="2165169509" sldId="258"/>
            <ac:spMk id="3" creationId="{A4E748F3-52F3-4227-86AD-9C50826A6263}"/>
          </ac:spMkLst>
        </pc:spChg>
      </pc:sldChg>
      <pc:sldChg chg="modSp mod ord">
        <pc:chgData name="Thiebaut, Laurent (Nokia - FR/Paris-Saclay)" userId="5a0f83ef-4330-4e17-8828-eca8fc03b257" providerId="ADAL" clId="{4DC8A3ED-5431-4D9B-BA0E-153F163E64EB}" dt="2021-11-29T09:59:32.972" v="136"/>
        <pc:sldMkLst>
          <pc:docMk/>
          <pc:sldMk cId="350768357" sldId="274"/>
        </pc:sldMkLst>
        <pc:spChg chg="mod">
          <ac:chgData name="Thiebaut, Laurent (Nokia - FR/Paris-Saclay)" userId="5a0f83ef-4330-4e17-8828-eca8fc03b257" providerId="ADAL" clId="{4DC8A3ED-5431-4D9B-BA0E-153F163E64EB}" dt="2021-11-29T09:57:29.071" v="122" actId="6549"/>
          <ac:spMkLst>
            <pc:docMk/>
            <pc:sldMk cId="350768357" sldId="274"/>
            <ac:spMk id="4" creationId="{B91515A7-343D-47E8-82B8-D58ED83CD3B1}"/>
          </ac:spMkLst>
        </pc:spChg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3913098898" sldId="276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89286606" sldId="278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1709557886" sldId="279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1389723289" sldId="280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2373054351" sldId="281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1074351315" sldId="283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2244628399" sldId="285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4155464073" sldId="286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1172224137" sldId="287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2557244844" sldId="288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3687963215" sldId="289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1499451625" sldId="299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4180799600" sldId="300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298917606" sldId="301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1124374886" sldId="302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20773976" sldId="303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62257519" sldId="304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3180151841" sldId="305"/>
        </pc:sldMkLst>
      </pc:sldChg>
      <pc:sldChg chg="del">
        <pc:chgData name="Thiebaut, Laurent (Nokia - FR/Paris-Saclay)" userId="5a0f83ef-4330-4e17-8828-eca8fc03b257" providerId="ADAL" clId="{4DC8A3ED-5431-4D9B-BA0E-153F163E64EB}" dt="2021-11-29T09:57:58.576" v="124" actId="47"/>
        <pc:sldMkLst>
          <pc:docMk/>
          <pc:sldMk cId="3312523795" sldId="321"/>
        </pc:sldMkLst>
      </pc:sldChg>
      <pc:sldChg chg="del">
        <pc:chgData name="Thiebaut, Laurent (Nokia - FR/Paris-Saclay)" userId="5a0f83ef-4330-4e17-8828-eca8fc03b257" providerId="ADAL" clId="{4DC8A3ED-5431-4D9B-BA0E-153F163E64EB}" dt="2021-11-29T10:05:21.433" v="239" actId="47"/>
        <pc:sldMkLst>
          <pc:docMk/>
          <pc:sldMk cId="2692745318" sldId="322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4090109033" sldId="334"/>
        </pc:sldMkLst>
      </pc:sldChg>
      <pc:sldChg chg="del">
        <pc:chgData name="Thiebaut, Laurent (Nokia - FR/Paris-Saclay)" userId="5a0f83ef-4330-4e17-8828-eca8fc03b257" providerId="ADAL" clId="{4DC8A3ED-5431-4D9B-BA0E-153F163E64EB}" dt="2021-11-29T09:57:58.576" v="124" actId="47"/>
        <pc:sldMkLst>
          <pc:docMk/>
          <pc:sldMk cId="1579721114" sldId="336"/>
        </pc:sldMkLst>
      </pc:sldChg>
      <pc:sldChg chg="modSp mod">
        <pc:chgData name="Thiebaut, Laurent (Nokia - FR/Paris-Saclay)" userId="5a0f83ef-4330-4e17-8828-eca8fc03b257" providerId="ADAL" clId="{4DC8A3ED-5431-4D9B-BA0E-153F163E64EB}" dt="2021-11-29T11:09:36.605" v="250" actId="20577"/>
        <pc:sldMkLst>
          <pc:docMk/>
          <pc:sldMk cId="2416036818" sldId="338"/>
        </pc:sldMkLst>
        <pc:spChg chg="mod">
          <ac:chgData name="Thiebaut, Laurent (Nokia - FR/Paris-Saclay)" userId="5a0f83ef-4330-4e17-8828-eca8fc03b257" providerId="ADAL" clId="{4DC8A3ED-5431-4D9B-BA0E-153F163E64EB}" dt="2021-11-29T10:02:44.197" v="170" actId="20577"/>
          <ac:spMkLst>
            <pc:docMk/>
            <pc:sldMk cId="2416036818" sldId="338"/>
            <ac:spMk id="3" creationId="{85A38C5A-5EBC-4325-8F64-062DAE1CFEC0}"/>
          </ac:spMkLst>
        </pc:spChg>
        <pc:spChg chg="mod">
          <ac:chgData name="Thiebaut, Laurent (Nokia - FR/Paris-Saclay)" userId="5a0f83ef-4330-4e17-8828-eca8fc03b257" providerId="ADAL" clId="{4DC8A3ED-5431-4D9B-BA0E-153F163E64EB}" dt="2021-11-29T10:02:32.960" v="158" actId="20577"/>
          <ac:spMkLst>
            <pc:docMk/>
            <pc:sldMk cId="2416036818" sldId="338"/>
            <ac:spMk id="4" creationId="{BD612997-8F8D-4939-8023-9B09970813F4}"/>
          </ac:spMkLst>
        </pc:spChg>
        <pc:spChg chg="mod">
          <ac:chgData name="Thiebaut, Laurent (Nokia - FR/Paris-Saclay)" userId="5a0f83ef-4330-4e17-8828-eca8fc03b257" providerId="ADAL" clId="{4DC8A3ED-5431-4D9B-BA0E-153F163E64EB}" dt="2021-11-29T11:09:36.605" v="250" actId="20577"/>
          <ac:spMkLst>
            <pc:docMk/>
            <pc:sldMk cId="2416036818" sldId="338"/>
            <ac:spMk id="5" creationId="{0A813F0E-7224-42E6-A359-B5A9B05FEE7A}"/>
          </ac:spMkLst>
        </pc:spChg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1206555552" sldId="342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3925664284" sldId="344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1198382535" sldId="346"/>
        </pc:sldMkLst>
      </pc:sldChg>
      <pc:sldChg chg="del">
        <pc:chgData name="Thiebaut, Laurent (Nokia - FR/Paris-Saclay)" userId="5a0f83ef-4330-4e17-8828-eca8fc03b257" providerId="ADAL" clId="{4DC8A3ED-5431-4D9B-BA0E-153F163E64EB}" dt="2021-11-29T09:59:23.495" v="134" actId="47"/>
        <pc:sldMkLst>
          <pc:docMk/>
          <pc:sldMk cId="1403617697" sldId="353"/>
        </pc:sldMkLst>
      </pc:sldChg>
      <pc:sldChg chg="del">
        <pc:chgData name="Thiebaut, Laurent (Nokia - FR/Paris-Saclay)" userId="5a0f83ef-4330-4e17-8828-eca8fc03b257" providerId="ADAL" clId="{4DC8A3ED-5431-4D9B-BA0E-153F163E64EB}" dt="2021-11-29T09:57:58.576" v="124" actId="47"/>
        <pc:sldMkLst>
          <pc:docMk/>
          <pc:sldMk cId="887653284" sldId="359"/>
        </pc:sldMkLst>
      </pc:sldChg>
      <pc:sldChg chg="del">
        <pc:chgData name="Thiebaut, Laurent (Nokia - FR/Paris-Saclay)" userId="5a0f83ef-4330-4e17-8828-eca8fc03b257" providerId="ADAL" clId="{4DC8A3ED-5431-4D9B-BA0E-153F163E64EB}" dt="2021-11-29T09:57:58.576" v="124" actId="47"/>
        <pc:sldMkLst>
          <pc:docMk/>
          <pc:sldMk cId="2364299864" sldId="373"/>
        </pc:sldMkLst>
      </pc:sldChg>
      <pc:sldChg chg="del">
        <pc:chgData name="Thiebaut, Laurent (Nokia - FR/Paris-Saclay)" userId="5a0f83ef-4330-4e17-8828-eca8fc03b257" providerId="ADAL" clId="{4DC8A3ED-5431-4D9B-BA0E-153F163E64EB}" dt="2021-11-29T09:58:43.547" v="133" actId="47"/>
        <pc:sldMkLst>
          <pc:docMk/>
          <pc:sldMk cId="2650957761" sldId="800"/>
        </pc:sldMkLst>
      </pc:sldChg>
      <pc:sldChg chg="ord">
        <pc:chgData name="Thiebaut, Laurent (Nokia - FR/Paris-Saclay)" userId="5a0f83ef-4330-4e17-8828-eca8fc03b257" providerId="ADAL" clId="{4DC8A3ED-5431-4D9B-BA0E-153F163E64EB}" dt="2021-11-29T09:59:36.121" v="138"/>
        <pc:sldMkLst>
          <pc:docMk/>
          <pc:sldMk cId="831834194" sldId="2134805378"/>
        </pc:sldMkLst>
      </pc:sldChg>
      <pc:sldChg chg="del">
        <pc:chgData name="Thiebaut, Laurent (Nokia - FR/Paris-Saclay)" userId="5a0f83ef-4330-4e17-8828-eca8fc03b257" providerId="ADAL" clId="{4DC8A3ED-5431-4D9B-BA0E-153F163E64EB}" dt="2021-11-29T10:00:37.710" v="139" actId="47"/>
        <pc:sldMkLst>
          <pc:docMk/>
          <pc:sldMk cId="3419015394" sldId="2134805403"/>
        </pc:sldMkLst>
      </pc:sldChg>
      <pc:sldChg chg="del">
        <pc:chgData name="Thiebaut, Laurent (Nokia - FR/Paris-Saclay)" userId="5a0f83ef-4330-4e17-8828-eca8fc03b257" providerId="ADAL" clId="{4DC8A3ED-5431-4D9B-BA0E-153F163E64EB}" dt="2021-11-29T09:58:30.187" v="131" actId="47"/>
        <pc:sldMkLst>
          <pc:docMk/>
          <pc:sldMk cId="2454539942" sldId="2134805412"/>
        </pc:sldMkLst>
      </pc:sldChg>
      <pc:sldChg chg="del">
        <pc:chgData name="Thiebaut, Laurent (Nokia - FR/Paris-Saclay)" userId="5a0f83ef-4330-4e17-8828-eca8fc03b257" providerId="ADAL" clId="{4DC8A3ED-5431-4D9B-BA0E-153F163E64EB}" dt="2021-11-29T09:58:31.340" v="132" actId="47"/>
        <pc:sldMkLst>
          <pc:docMk/>
          <pc:sldMk cId="1648074745" sldId="2134805413"/>
        </pc:sldMkLst>
      </pc:sldChg>
      <pc:sldChg chg="del">
        <pc:chgData name="Thiebaut, Laurent (Nokia - FR/Paris-Saclay)" userId="5a0f83ef-4330-4e17-8828-eca8fc03b257" providerId="ADAL" clId="{4DC8A3ED-5431-4D9B-BA0E-153F163E64EB}" dt="2021-11-29T09:58:43.547" v="133" actId="47"/>
        <pc:sldMkLst>
          <pc:docMk/>
          <pc:sldMk cId="113731936" sldId="2134805416"/>
        </pc:sldMkLst>
      </pc:sldChg>
      <pc:sldChg chg="del">
        <pc:chgData name="Thiebaut, Laurent (Nokia - FR/Paris-Saclay)" userId="5a0f83ef-4330-4e17-8828-eca8fc03b257" providerId="ADAL" clId="{4DC8A3ED-5431-4D9B-BA0E-153F163E64EB}" dt="2021-11-26T08:41:01.550" v="63" actId="47"/>
        <pc:sldMkLst>
          <pc:docMk/>
          <pc:sldMk cId="638605840" sldId="2134805417"/>
        </pc:sldMkLst>
      </pc:sldChg>
      <pc:sldChg chg="del">
        <pc:chgData name="Thiebaut, Laurent (Nokia - FR/Paris-Saclay)" userId="5a0f83ef-4330-4e17-8828-eca8fc03b257" providerId="ADAL" clId="{4DC8A3ED-5431-4D9B-BA0E-153F163E64EB}" dt="2021-11-29T10:00:37.710" v="139" actId="47"/>
        <pc:sldMkLst>
          <pc:docMk/>
          <pc:sldMk cId="3564050460" sldId="2134805422"/>
        </pc:sldMkLst>
      </pc:sldChg>
      <pc:sldChg chg="del">
        <pc:chgData name="Thiebaut, Laurent (Nokia - FR/Paris-Saclay)" userId="5a0f83ef-4330-4e17-8828-eca8fc03b257" providerId="ADAL" clId="{4DC8A3ED-5431-4D9B-BA0E-153F163E64EB}" dt="2021-11-29T09:57:58.576" v="124" actId="47"/>
        <pc:sldMkLst>
          <pc:docMk/>
          <pc:sldMk cId="3596242951" sldId="2134805424"/>
        </pc:sldMkLst>
      </pc:sldChg>
      <pc:sldChg chg="del">
        <pc:chgData name="Thiebaut, Laurent (Nokia - FR/Paris-Saclay)" userId="5a0f83ef-4330-4e17-8828-eca8fc03b257" providerId="ADAL" clId="{4DC8A3ED-5431-4D9B-BA0E-153F163E64EB}" dt="2021-11-29T09:57:58.576" v="124" actId="47"/>
        <pc:sldMkLst>
          <pc:docMk/>
          <pc:sldMk cId="3921192321" sldId="2134805425"/>
        </pc:sldMkLst>
      </pc:sldChg>
      <pc:sldChg chg="del">
        <pc:chgData name="Thiebaut, Laurent (Nokia - FR/Paris-Saclay)" userId="5a0f83ef-4330-4e17-8828-eca8fc03b257" providerId="ADAL" clId="{4DC8A3ED-5431-4D9B-BA0E-153F163E64EB}" dt="2021-11-29T09:57:58.576" v="124" actId="47"/>
        <pc:sldMkLst>
          <pc:docMk/>
          <pc:sldMk cId="4106418367" sldId="2134805426"/>
        </pc:sldMkLst>
      </pc:sldChg>
      <pc:sldChg chg="del">
        <pc:chgData name="Thiebaut, Laurent (Nokia - FR/Paris-Saclay)" userId="5a0f83ef-4330-4e17-8828-eca8fc03b257" providerId="ADAL" clId="{4DC8A3ED-5431-4D9B-BA0E-153F163E64EB}" dt="2021-11-29T09:57:58.576" v="124" actId="47"/>
        <pc:sldMkLst>
          <pc:docMk/>
          <pc:sldMk cId="3936638572" sldId="2134805427"/>
        </pc:sldMkLst>
      </pc:sldChg>
      <pc:sldChg chg="del">
        <pc:chgData name="Thiebaut, Laurent (Nokia - FR/Paris-Saclay)" userId="5a0f83ef-4330-4e17-8828-eca8fc03b257" providerId="ADAL" clId="{4DC8A3ED-5431-4D9B-BA0E-153F163E64EB}" dt="2021-11-29T09:57:58.576" v="124" actId="47"/>
        <pc:sldMkLst>
          <pc:docMk/>
          <pc:sldMk cId="1472701805" sldId="2134805428"/>
        </pc:sldMkLst>
      </pc:sldChg>
      <pc:sldChg chg="modSp del mod">
        <pc:chgData name="Thiebaut, Laurent (Nokia - FR/Paris-Saclay)" userId="5a0f83ef-4330-4e17-8828-eca8fc03b257" providerId="ADAL" clId="{4DC8A3ED-5431-4D9B-BA0E-153F163E64EB}" dt="2021-11-29T09:58:43.547" v="133" actId="47"/>
        <pc:sldMkLst>
          <pc:docMk/>
          <pc:sldMk cId="3118820506" sldId="2134805433"/>
        </pc:sldMkLst>
        <pc:spChg chg="mod">
          <ac:chgData name="Thiebaut, Laurent (Nokia - FR/Paris-Saclay)" userId="5a0f83ef-4330-4e17-8828-eca8fc03b257" providerId="ADAL" clId="{4DC8A3ED-5431-4D9B-BA0E-153F163E64EB}" dt="2021-11-26T09:33:44.622" v="115"/>
          <ac:spMkLst>
            <pc:docMk/>
            <pc:sldMk cId="3118820506" sldId="2134805433"/>
            <ac:spMk id="4" creationId="{5C8D5078-B8D0-4095-8466-64F7613FE8A6}"/>
          </ac:spMkLst>
        </pc:spChg>
      </pc:sldChg>
      <pc:sldChg chg="modSp del mod">
        <pc:chgData name="Thiebaut, Laurent (Nokia - FR/Paris-Saclay)" userId="5a0f83ef-4330-4e17-8828-eca8fc03b257" providerId="ADAL" clId="{4DC8A3ED-5431-4D9B-BA0E-153F163E64EB}" dt="2021-11-29T09:58:43.547" v="133" actId="47"/>
        <pc:sldMkLst>
          <pc:docMk/>
          <pc:sldMk cId="658360804" sldId="2134805460"/>
        </pc:sldMkLst>
        <pc:spChg chg="mod">
          <ac:chgData name="Thiebaut, Laurent (Nokia - FR/Paris-Saclay)" userId="5a0f83ef-4330-4e17-8828-eca8fc03b257" providerId="ADAL" clId="{4DC8A3ED-5431-4D9B-BA0E-153F163E64EB}" dt="2021-11-26T09:48:02.233" v="121" actId="20577"/>
          <ac:spMkLst>
            <pc:docMk/>
            <pc:sldMk cId="658360804" sldId="2134805460"/>
            <ac:spMk id="4" creationId="{5C8D5078-B8D0-4095-8466-64F7613FE8A6}"/>
          </ac:spMkLst>
        </pc:spChg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1232992897" sldId="2134805461"/>
        </pc:sldMkLst>
      </pc:sldChg>
      <pc:sldChg chg="del">
        <pc:chgData name="Thiebaut, Laurent (Nokia - FR/Paris-Saclay)" userId="5a0f83ef-4330-4e17-8828-eca8fc03b257" providerId="ADAL" clId="{4DC8A3ED-5431-4D9B-BA0E-153F163E64EB}" dt="2021-11-29T09:57:40.275" v="123" actId="47"/>
        <pc:sldMkLst>
          <pc:docMk/>
          <pc:sldMk cId="3834558963" sldId="2134805462"/>
        </pc:sldMkLst>
      </pc:sldChg>
      <pc:sldChg chg="del">
        <pc:chgData name="Thiebaut, Laurent (Nokia - FR/Paris-Saclay)" userId="5a0f83ef-4330-4e17-8828-eca8fc03b257" providerId="ADAL" clId="{4DC8A3ED-5431-4D9B-BA0E-153F163E64EB}" dt="2021-11-29T10:00:37.710" v="139" actId="47"/>
        <pc:sldMkLst>
          <pc:docMk/>
          <pc:sldMk cId="4246778691" sldId="2134805465"/>
        </pc:sldMkLst>
      </pc:sldChg>
      <pc:sldChg chg="del">
        <pc:chgData name="Thiebaut, Laurent (Nokia - FR/Paris-Saclay)" userId="5a0f83ef-4330-4e17-8828-eca8fc03b257" providerId="ADAL" clId="{4DC8A3ED-5431-4D9B-BA0E-153F163E64EB}" dt="2021-11-29T10:00:37.710" v="139" actId="47"/>
        <pc:sldMkLst>
          <pc:docMk/>
          <pc:sldMk cId="3863244974" sldId="2134805466"/>
        </pc:sldMkLst>
      </pc:sldChg>
      <pc:sldChg chg="del">
        <pc:chgData name="Thiebaut, Laurent (Nokia - FR/Paris-Saclay)" userId="5a0f83ef-4330-4e17-8828-eca8fc03b257" providerId="ADAL" clId="{4DC8A3ED-5431-4D9B-BA0E-153F163E64EB}" dt="2021-11-29T10:00:37.710" v="139" actId="47"/>
        <pc:sldMkLst>
          <pc:docMk/>
          <pc:sldMk cId="1338556221" sldId="2134805468"/>
        </pc:sldMkLst>
      </pc:sldChg>
      <pc:sldChg chg="del">
        <pc:chgData name="Thiebaut, Laurent (Nokia - FR/Paris-Saclay)" userId="5a0f83ef-4330-4e17-8828-eca8fc03b257" providerId="ADAL" clId="{4DC8A3ED-5431-4D9B-BA0E-153F163E64EB}" dt="2021-11-26T09:34:06.164" v="117" actId="47"/>
        <pc:sldMkLst>
          <pc:docMk/>
          <pc:sldMk cId="3926250355" sldId="2134805469"/>
        </pc:sldMkLst>
      </pc:sldChg>
      <pc:sldChg chg="modSp del mod">
        <pc:chgData name="Thiebaut, Laurent (Nokia - FR/Paris-Saclay)" userId="5a0f83ef-4330-4e17-8828-eca8fc03b257" providerId="ADAL" clId="{4DC8A3ED-5431-4D9B-BA0E-153F163E64EB}" dt="2021-11-29T09:58:43.547" v="133" actId="47"/>
        <pc:sldMkLst>
          <pc:docMk/>
          <pc:sldMk cId="3046812945" sldId="2134805471"/>
        </pc:sldMkLst>
        <pc:spChg chg="mod">
          <ac:chgData name="Thiebaut, Laurent (Nokia - FR/Paris-Saclay)" userId="5a0f83ef-4330-4e17-8828-eca8fc03b257" providerId="ADAL" clId="{4DC8A3ED-5431-4D9B-BA0E-153F163E64EB}" dt="2021-11-26T09:34:02.613" v="116"/>
          <ac:spMkLst>
            <pc:docMk/>
            <pc:sldMk cId="3046812945" sldId="2134805471"/>
            <ac:spMk id="4" creationId="{5C8D5078-B8D0-4095-8466-64F7613FE8A6}"/>
          </ac:spMkLst>
        </pc:spChg>
      </pc:sldChg>
      <pc:sldChg chg="modSp del mod">
        <pc:chgData name="Thiebaut, Laurent (Nokia - FR/Paris-Saclay)" userId="5a0f83ef-4330-4e17-8828-eca8fc03b257" providerId="ADAL" clId="{4DC8A3ED-5431-4D9B-BA0E-153F163E64EB}" dt="2021-11-29T09:58:43.547" v="133" actId="47"/>
        <pc:sldMkLst>
          <pc:docMk/>
          <pc:sldMk cId="4045133485" sldId="2134805473"/>
        </pc:sldMkLst>
        <pc:spChg chg="mod">
          <ac:chgData name="Thiebaut, Laurent (Nokia - FR/Paris-Saclay)" userId="5a0f83ef-4330-4e17-8828-eca8fc03b257" providerId="ADAL" clId="{4DC8A3ED-5431-4D9B-BA0E-153F163E64EB}" dt="2021-11-26T09:03:06.626" v="80" actId="20577"/>
          <ac:spMkLst>
            <pc:docMk/>
            <pc:sldMk cId="4045133485" sldId="2134805473"/>
            <ac:spMk id="4" creationId="{5C8D5078-B8D0-4095-8466-64F7613FE8A6}"/>
          </ac:spMkLst>
        </pc:spChg>
      </pc:sldChg>
      <pc:sldChg chg="del">
        <pc:chgData name="Thiebaut, Laurent (Nokia - FR/Paris-Saclay)" userId="5a0f83ef-4330-4e17-8828-eca8fc03b257" providerId="ADAL" clId="{4DC8A3ED-5431-4D9B-BA0E-153F163E64EB}" dt="2021-11-26T08:41:53.677" v="67" actId="47"/>
        <pc:sldMkLst>
          <pc:docMk/>
          <pc:sldMk cId="4028330678" sldId="2134805474"/>
        </pc:sldMkLst>
      </pc:sldChg>
      <pc:sldChg chg="modSp del mod">
        <pc:chgData name="Thiebaut, Laurent (Nokia - FR/Paris-Saclay)" userId="5a0f83ef-4330-4e17-8828-eca8fc03b257" providerId="ADAL" clId="{4DC8A3ED-5431-4D9B-BA0E-153F163E64EB}" dt="2021-11-29T09:58:43.547" v="133" actId="47"/>
        <pc:sldMkLst>
          <pc:docMk/>
          <pc:sldMk cId="904971493" sldId="2134805478"/>
        </pc:sldMkLst>
        <pc:spChg chg="mod">
          <ac:chgData name="Thiebaut, Laurent (Nokia - FR/Paris-Saclay)" userId="5a0f83ef-4330-4e17-8828-eca8fc03b257" providerId="ADAL" clId="{4DC8A3ED-5431-4D9B-BA0E-153F163E64EB}" dt="2021-11-26T09:17:36.693" v="86"/>
          <ac:spMkLst>
            <pc:docMk/>
            <pc:sldMk cId="904971493" sldId="2134805478"/>
            <ac:spMk id="4" creationId="{5C8D5078-B8D0-4095-8466-64F7613FE8A6}"/>
          </ac:spMkLst>
        </pc:spChg>
      </pc:sldChg>
      <pc:sldChg chg="del">
        <pc:chgData name="Thiebaut, Laurent (Nokia - FR/Paris-Saclay)" userId="5a0f83ef-4330-4e17-8828-eca8fc03b257" providerId="ADAL" clId="{4DC8A3ED-5431-4D9B-BA0E-153F163E64EB}" dt="2021-11-29T09:57:58.576" v="124" actId="47"/>
        <pc:sldMkLst>
          <pc:docMk/>
          <pc:sldMk cId="1102584539" sldId="2134805485"/>
        </pc:sldMkLst>
      </pc:sldChg>
      <pc:sldChg chg="del">
        <pc:chgData name="Thiebaut, Laurent (Nokia - FR/Paris-Saclay)" userId="5a0f83ef-4330-4e17-8828-eca8fc03b257" providerId="ADAL" clId="{4DC8A3ED-5431-4D9B-BA0E-153F163E64EB}" dt="2021-11-29T10:05:18.266" v="238" actId="47"/>
        <pc:sldMkLst>
          <pc:docMk/>
          <pc:sldMk cId="1150269751" sldId="2134805525"/>
        </pc:sldMkLst>
      </pc:sldChg>
      <pc:sldChg chg="addSp delSp modSp mod ord">
        <pc:chgData name="Thiebaut, Laurent (Nokia - FR/Paris-Saclay)" userId="5a0f83ef-4330-4e17-8828-eca8fc03b257" providerId="ADAL" clId="{4DC8A3ED-5431-4D9B-BA0E-153F163E64EB}" dt="2021-11-29T10:09:04.123" v="248" actId="1076"/>
        <pc:sldMkLst>
          <pc:docMk/>
          <pc:sldMk cId="908993029" sldId="2134805527"/>
        </pc:sldMkLst>
        <pc:picChg chg="add del">
          <ac:chgData name="Thiebaut, Laurent (Nokia - FR/Paris-Saclay)" userId="5a0f83ef-4330-4e17-8828-eca8fc03b257" providerId="ADAL" clId="{4DC8A3ED-5431-4D9B-BA0E-153F163E64EB}" dt="2021-11-29T10:08:15.487" v="241"/>
          <ac:picMkLst>
            <pc:docMk/>
            <pc:sldMk cId="908993029" sldId="2134805527"/>
            <ac:picMk id="1026" creationId="{645F25B4-9122-42E0-BEBB-64C4A0600080}"/>
          </ac:picMkLst>
        </pc:picChg>
        <pc:picChg chg="add del">
          <ac:chgData name="Thiebaut, Laurent (Nokia - FR/Paris-Saclay)" userId="5a0f83ef-4330-4e17-8828-eca8fc03b257" providerId="ADAL" clId="{4DC8A3ED-5431-4D9B-BA0E-153F163E64EB}" dt="2021-11-29T10:08:20.979" v="243"/>
          <ac:picMkLst>
            <pc:docMk/>
            <pc:sldMk cId="908993029" sldId="2134805527"/>
            <ac:picMk id="1028" creationId="{871488C8-9737-49AC-8A65-B8B49621FCC6}"/>
          </ac:picMkLst>
        </pc:picChg>
        <pc:cxnChg chg="mod">
          <ac:chgData name="Thiebaut, Laurent (Nokia - FR/Paris-Saclay)" userId="5a0f83ef-4330-4e17-8828-eca8fc03b257" providerId="ADAL" clId="{4DC8A3ED-5431-4D9B-BA0E-153F163E64EB}" dt="2021-11-29T10:09:04.123" v="248" actId="1076"/>
          <ac:cxnSpMkLst>
            <pc:docMk/>
            <pc:sldMk cId="908993029" sldId="2134805527"/>
            <ac:cxnSpMk id="8" creationId="{31E383A0-3AB9-455E-8BC1-87201B8E64E5}"/>
          </ac:cxnSpMkLst>
        </pc:cxnChg>
      </pc:sldChg>
      <pc:sldChg chg="modSp mod">
        <pc:chgData name="Thiebaut, Laurent (Nokia - FR/Paris-Saclay)" userId="5a0f83ef-4330-4e17-8828-eca8fc03b257" providerId="ADAL" clId="{4DC8A3ED-5431-4D9B-BA0E-153F163E64EB}" dt="2021-11-26T08:39:52.712" v="62" actId="13926"/>
        <pc:sldMkLst>
          <pc:docMk/>
          <pc:sldMk cId="3431728892" sldId="2134805540"/>
        </pc:sldMkLst>
        <pc:spChg chg="mod">
          <ac:chgData name="Thiebaut, Laurent (Nokia - FR/Paris-Saclay)" userId="5a0f83ef-4330-4e17-8828-eca8fc03b257" providerId="ADAL" clId="{4DC8A3ED-5431-4D9B-BA0E-153F163E64EB}" dt="2021-11-26T08:26:33.647" v="17" actId="1076"/>
          <ac:spMkLst>
            <pc:docMk/>
            <pc:sldMk cId="3431728892" sldId="2134805540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4DC8A3ED-5431-4D9B-BA0E-153F163E64EB}" dt="2021-11-26T08:25:57.898" v="12" actId="313"/>
          <ac:spMkLst>
            <pc:docMk/>
            <pc:sldMk cId="3431728892" sldId="2134805540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4DC8A3ED-5431-4D9B-BA0E-153F163E64EB}" dt="2021-11-26T08:39:52.712" v="62" actId="13926"/>
          <ac:spMkLst>
            <pc:docMk/>
            <pc:sldMk cId="3431728892" sldId="2134805540"/>
            <ac:spMk id="4" creationId="{CD72C33D-DF40-4601-AF02-8DFD5A6EA958}"/>
          </ac:spMkLst>
        </pc:spChg>
      </pc:sldChg>
      <pc:sldChg chg="add">
        <pc:chgData name="Thiebaut, Laurent (Nokia - FR/Paris-Saclay)" userId="5a0f83ef-4330-4e17-8828-eca8fc03b257" providerId="ADAL" clId="{4DC8A3ED-5431-4D9B-BA0E-153F163E64EB}" dt="2021-11-26T08:24:54.890" v="0"/>
        <pc:sldMkLst>
          <pc:docMk/>
          <pc:sldMk cId="2282114529" sldId="2134805557"/>
        </pc:sldMkLst>
      </pc:sldChg>
      <pc:sldChg chg="add del">
        <pc:chgData name="Thiebaut, Laurent (Nokia - FR/Paris-Saclay)" userId="5a0f83ef-4330-4e17-8828-eca8fc03b257" providerId="ADAL" clId="{4DC8A3ED-5431-4D9B-BA0E-153F163E64EB}" dt="2021-11-29T09:58:43.547" v="133" actId="47"/>
        <pc:sldMkLst>
          <pc:docMk/>
          <pc:sldMk cId="2853163111" sldId="2134805558"/>
        </pc:sldMkLst>
      </pc:sldChg>
      <pc:sldChg chg="modSp add mod ord">
        <pc:chgData name="Thiebaut, Laurent (Nokia - FR/Paris-Saclay)" userId="5a0f83ef-4330-4e17-8828-eca8fc03b257" providerId="ADAL" clId="{4DC8A3ED-5431-4D9B-BA0E-153F163E64EB}" dt="2021-11-26T09:05:09.049" v="85"/>
        <pc:sldMkLst>
          <pc:docMk/>
          <pc:sldMk cId="3752802413" sldId="2134805559"/>
        </pc:sldMkLst>
        <pc:spChg chg="mod">
          <ac:chgData name="Thiebaut, Laurent (Nokia - FR/Paris-Saclay)" userId="5a0f83ef-4330-4e17-8828-eca8fc03b257" providerId="ADAL" clId="{4DC8A3ED-5431-4D9B-BA0E-153F163E64EB}" dt="2021-11-26T09:05:04.649" v="83" actId="20577"/>
          <ac:spMkLst>
            <pc:docMk/>
            <pc:sldMk cId="3752802413" sldId="2134805559"/>
            <ac:spMk id="4" creationId="{5C8D5078-B8D0-4095-8466-64F7613FE8A6}"/>
          </ac:spMkLst>
        </pc:spChg>
      </pc:sldChg>
      <pc:sldChg chg="addSp modSp mod">
        <pc:chgData name="Thiebaut, Laurent (Nokia - FR/Paris-Saclay)" userId="5a0f83ef-4330-4e17-8828-eca8fc03b257" providerId="ADAL" clId="{4DC8A3ED-5431-4D9B-BA0E-153F163E64EB}" dt="2021-11-29T13:00:14.554" v="648" actId="14100"/>
        <pc:sldMkLst>
          <pc:docMk/>
          <pc:sldMk cId="938167764" sldId="2134805561"/>
        </pc:sldMkLst>
        <pc:graphicFrameChg chg="add mod modGraphic">
          <ac:chgData name="Thiebaut, Laurent (Nokia - FR/Paris-Saclay)" userId="5a0f83ef-4330-4e17-8828-eca8fc03b257" providerId="ADAL" clId="{4DC8A3ED-5431-4D9B-BA0E-153F163E64EB}" dt="2021-11-29T13:00:14.554" v="648" actId="14100"/>
          <ac:graphicFrameMkLst>
            <pc:docMk/>
            <pc:sldMk cId="938167764" sldId="2134805561"/>
            <ac:graphicFrameMk id="5" creationId="{D22EF218-959F-4FA7-90A9-84DFDA71C02B}"/>
          </ac:graphicFrameMkLst>
        </pc:graphicFrameChg>
      </pc:sldChg>
      <pc:sldChg chg="addSp modSp mod">
        <pc:chgData name="Thiebaut, Laurent (Nokia - FR/Paris-Saclay)" userId="5a0f83ef-4330-4e17-8828-eca8fc03b257" providerId="ADAL" clId="{4DC8A3ED-5431-4D9B-BA0E-153F163E64EB}" dt="2021-11-29T13:00:49.986" v="656" actId="20577"/>
        <pc:sldMkLst>
          <pc:docMk/>
          <pc:sldMk cId="493328577" sldId="2134805562"/>
        </pc:sldMkLst>
        <pc:spChg chg="mod">
          <ac:chgData name="Thiebaut, Laurent (Nokia - FR/Paris-Saclay)" userId="5a0f83ef-4330-4e17-8828-eca8fc03b257" providerId="ADAL" clId="{4DC8A3ED-5431-4D9B-BA0E-153F163E64EB}" dt="2021-11-29T13:00:31.418" v="650" actId="20577"/>
          <ac:spMkLst>
            <pc:docMk/>
            <pc:sldMk cId="493328577" sldId="2134805562"/>
            <ac:spMk id="4" creationId="{CD72C33D-DF40-4601-AF02-8DFD5A6EA958}"/>
          </ac:spMkLst>
        </pc:spChg>
        <pc:graphicFrameChg chg="add mod modGraphic">
          <ac:chgData name="Thiebaut, Laurent (Nokia - FR/Paris-Saclay)" userId="5a0f83ef-4330-4e17-8828-eca8fc03b257" providerId="ADAL" clId="{4DC8A3ED-5431-4D9B-BA0E-153F163E64EB}" dt="2021-11-29T13:00:49.986" v="656" actId="20577"/>
          <ac:graphicFrameMkLst>
            <pc:docMk/>
            <pc:sldMk cId="493328577" sldId="2134805562"/>
            <ac:graphicFrameMk id="5" creationId="{A64E678D-EA5D-4B7B-96BB-BB8C8EFF924E}"/>
          </ac:graphicFrameMkLst>
        </pc:graphicFrameChg>
      </pc:sldChg>
      <pc:sldChg chg="addSp modSp mod">
        <pc:chgData name="Thiebaut, Laurent (Nokia - FR/Paris-Saclay)" userId="5a0f83ef-4330-4e17-8828-eca8fc03b257" providerId="ADAL" clId="{4DC8A3ED-5431-4D9B-BA0E-153F163E64EB}" dt="2021-11-29T13:01:11.356" v="659" actId="20577"/>
        <pc:sldMkLst>
          <pc:docMk/>
          <pc:sldMk cId="2552578504" sldId="2134805563"/>
        </pc:sldMkLst>
        <pc:graphicFrameChg chg="add mod modGraphic">
          <ac:chgData name="Thiebaut, Laurent (Nokia - FR/Paris-Saclay)" userId="5a0f83ef-4330-4e17-8828-eca8fc03b257" providerId="ADAL" clId="{4DC8A3ED-5431-4D9B-BA0E-153F163E64EB}" dt="2021-11-29T13:01:11.356" v="659" actId="20577"/>
          <ac:graphicFrameMkLst>
            <pc:docMk/>
            <pc:sldMk cId="2552578504" sldId="2134805563"/>
            <ac:graphicFrameMk id="5" creationId="{147F1A6A-0E16-4C84-8E82-5039900CDD75}"/>
          </ac:graphicFrameMkLst>
        </pc:graphicFrameChg>
      </pc:sldChg>
      <pc:sldChg chg="del">
        <pc:chgData name="Thiebaut, Laurent (Nokia - FR/Paris-Saclay)" userId="5a0f83ef-4330-4e17-8828-eca8fc03b257" providerId="ADAL" clId="{4DC8A3ED-5431-4D9B-BA0E-153F163E64EB}" dt="2021-11-29T09:58:43.547" v="133" actId="47"/>
        <pc:sldMkLst>
          <pc:docMk/>
          <pc:sldMk cId="3752802413" sldId="2134805564"/>
        </pc:sldMkLst>
      </pc:sldChg>
      <pc:sldChg chg="addSp modSp mod ord">
        <pc:chgData name="Thiebaut, Laurent (Nokia - FR/Paris-Saclay)" userId="5a0f83ef-4330-4e17-8828-eca8fc03b257" providerId="ADAL" clId="{4DC8A3ED-5431-4D9B-BA0E-153F163E64EB}" dt="2021-11-30T12:05:28.052" v="769"/>
        <pc:sldMkLst>
          <pc:docMk/>
          <pc:sldMk cId="4008632245" sldId="2134805565"/>
        </pc:sldMkLst>
        <pc:graphicFrameChg chg="add mod modGraphic">
          <ac:chgData name="Thiebaut, Laurent (Nokia - FR/Paris-Saclay)" userId="5a0f83ef-4330-4e17-8828-eca8fc03b257" providerId="ADAL" clId="{4DC8A3ED-5431-4D9B-BA0E-153F163E64EB}" dt="2021-11-29T12:51:13.666" v="572" actId="20577"/>
          <ac:graphicFrameMkLst>
            <pc:docMk/>
            <pc:sldMk cId="4008632245" sldId="2134805565"/>
            <ac:graphicFrameMk id="5" creationId="{C8BBFCFC-A916-4DFF-91B3-3D3FB6D6A8D0}"/>
          </ac:graphicFrameMkLst>
        </pc:graphicFrameChg>
      </pc:sldChg>
      <pc:sldChg chg="addSp modSp mod">
        <pc:chgData name="Thiebaut, Laurent (Nokia - FR/Paris-Saclay)" userId="5a0f83ef-4330-4e17-8828-eca8fc03b257" providerId="ADAL" clId="{4DC8A3ED-5431-4D9B-BA0E-153F163E64EB}" dt="2021-11-29T12:55:14.349" v="594" actId="20577"/>
        <pc:sldMkLst>
          <pc:docMk/>
          <pc:sldMk cId="1411221200" sldId="2134805566"/>
        </pc:sldMkLst>
        <pc:spChg chg="mod">
          <ac:chgData name="Thiebaut, Laurent (Nokia - FR/Paris-Saclay)" userId="5a0f83ef-4330-4e17-8828-eca8fc03b257" providerId="ADAL" clId="{4DC8A3ED-5431-4D9B-BA0E-153F163E64EB}" dt="2021-11-29T12:52:18.321" v="584" actId="1076"/>
          <ac:spMkLst>
            <pc:docMk/>
            <pc:sldMk cId="1411221200" sldId="2134805566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4DC8A3ED-5431-4D9B-BA0E-153F163E64EB}" dt="2021-11-29T12:53:54.794" v="589" actId="114"/>
          <ac:spMkLst>
            <pc:docMk/>
            <pc:sldMk cId="1411221200" sldId="2134805566"/>
            <ac:spMk id="4" creationId="{CD72C33D-DF40-4601-AF02-8DFD5A6EA958}"/>
          </ac:spMkLst>
        </pc:spChg>
        <pc:graphicFrameChg chg="add mod modGraphic">
          <ac:chgData name="Thiebaut, Laurent (Nokia - FR/Paris-Saclay)" userId="5a0f83ef-4330-4e17-8828-eca8fc03b257" providerId="ADAL" clId="{4DC8A3ED-5431-4D9B-BA0E-153F163E64EB}" dt="2021-11-29T12:55:14.349" v="594" actId="20577"/>
          <ac:graphicFrameMkLst>
            <pc:docMk/>
            <pc:sldMk cId="1411221200" sldId="2134805566"/>
            <ac:graphicFrameMk id="5" creationId="{0A8A09A2-A363-4D09-AFDF-505C7B1C8D4E}"/>
          </ac:graphicFrameMkLst>
        </pc:graphicFrameChg>
      </pc:sldChg>
      <pc:sldChg chg="addSp modSp mod">
        <pc:chgData name="Thiebaut, Laurent (Nokia - FR/Paris-Saclay)" userId="5a0f83ef-4330-4e17-8828-eca8fc03b257" providerId="ADAL" clId="{4DC8A3ED-5431-4D9B-BA0E-153F163E64EB}" dt="2021-11-29T12:58:33.736" v="632" actId="14100"/>
        <pc:sldMkLst>
          <pc:docMk/>
          <pc:sldMk cId="3605258126" sldId="2134805567"/>
        </pc:sldMkLst>
        <pc:graphicFrameChg chg="add mod modGraphic">
          <ac:chgData name="Thiebaut, Laurent (Nokia - FR/Paris-Saclay)" userId="5a0f83ef-4330-4e17-8828-eca8fc03b257" providerId="ADAL" clId="{4DC8A3ED-5431-4D9B-BA0E-153F163E64EB}" dt="2021-11-29T12:58:33.736" v="632" actId="14100"/>
          <ac:graphicFrameMkLst>
            <pc:docMk/>
            <pc:sldMk cId="3605258126" sldId="2134805567"/>
            <ac:graphicFrameMk id="5" creationId="{B18B8BBD-93B6-4963-ADE3-1B0D59F6253B}"/>
          </ac:graphicFrameMkLst>
        </pc:graphicFrameChg>
      </pc:sldChg>
      <pc:sldChg chg="addSp modSp mod">
        <pc:chgData name="Thiebaut, Laurent (Nokia - FR/Paris-Saclay)" userId="5a0f83ef-4330-4e17-8828-eca8fc03b257" providerId="ADAL" clId="{4DC8A3ED-5431-4D9B-BA0E-153F163E64EB}" dt="2021-11-29T12:59:25.373" v="636" actId="20577"/>
        <pc:sldMkLst>
          <pc:docMk/>
          <pc:sldMk cId="3368855379" sldId="2134805568"/>
        </pc:sldMkLst>
        <pc:graphicFrameChg chg="add mod modGraphic">
          <ac:chgData name="Thiebaut, Laurent (Nokia - FR/Paris-Saclay)" userId="5a0f83ef-4330-4e17-8828-eca8fc03b257" providerId="ADAL" clId="{4DC8A3ED-5431-4D9B-BA0E-153F163E64EB}" dt="2021-11-29T12:59:25.373" v="636" actId="20577"/>
          <ac:graphicFrameMkLst>
            <pc:docMk/>
            <pc:sldMk cId="3368855379" sldId="2134805568"/>
            <ac:graphicFrameMk id="5" creationId="{89A36127-47A9-4CCA-AE56-E73D0D09DCD1}"/>
          </ac:graphicFrameMkLst>
        </pc:graphicFrameChg>
      </pc:sldChg>
      <pc:sldChg chg="del">
        <pc:chgData name="Thiebaut, Laurent (Nokia - FR/Paris-Saclay)" userId="5a0f83ef-4330-4e17-8828-eca8fc03b257" providerId="ADAL" clId="{4DC8A3ED-5431-4D9B-BA0E-153F163E64EB}" dt="2021-11-29T13:01:42.751" v="660" actId="47"/>
        <pc:sldMkLst>
          <pc:docMk/>
          <pc:sldMk cId="1023056229" sldId="2134805569"/>
        </pc:sldMkLst>
      </pc:sldChg>
      <pc:sldChg chg="addSp modSp mod">
        <pc:chgData name="Thiebaut, Laurent (Nokia - FR/Paris-Saclay)" userId="5a0f83ef-4330-4e17-8828-eca8fc03b257" providerId="ADAL" clId="{4DC8A3ED-5431-4D9B-BA0E-153F163E64EB}" dt="2021-11-29T12:56:24.772" v="612" actId="20577"/>
        <pc:sldMkLst>
          <pc:docMk/>
          <pc:sldMk cId="3055462933" sldId="2134805570"/>
        </pc:sldMkLst>
        <pc:graphicFrameChg chg="add mod modGraphic">
          <ac:chgData name="Thiebaut, Laurent (Nokia - FR/Paris-Saclay)" userId="5a0f83ef-4330-4e17-8828-eca8fc03b257" providerId="ADAL" clId="{4DC8A3ED-5431-4D9B-BA0E-153F163E64EB}" dt="2021-11-29T12:56:24.772" v="612" actId="20577"/>
          <ac:graphicFrameMkLst>
            <pc:docMk/>
            <pc:sldMk cId="3055462933" sldId="2134805570"/>
            <ac:graphicFrameMk id="5" creationId="{E7BE7EA0-F98F-4A52-8754-DB6A55765F25}"/>
          </ac:graphicFrameMkLst>
        </pc:graphicFrameChg>
      </pc:sldChg>
      <pc:sldChg chg="addSp modSp mod">
        <pc:chgData name="Thiebaut, Laurent (Nokia - FR/Paris-Saclay)" userId="5a0f83ef-4330-4e17-8828-eca8fc03b257" providerId="ADAL" clId="{4DC8A3ED-5431-4D9B-BA0E-153F163E64EB}" dt="2021-11-29T12:57:19.430" v="619" actId="20577"/>
        <pc:sldMkLst>
          <pc:docMk/>
          <pc:sldMk cId="4241914170" sldId="2134805571"/>
        </pc:sldMkLst>
        <pc:graphicFrameChg chg="add mod modGraphic">
          <ac:chgData name="Thiebaut, Laurent (Nokia - FR/Paris-Saclay)" userId="5a0f83ef-4330-4e17-8828-eca8fc03b257" providerId="ADAL" clId="{4DC8A3ED-5431-4D9B-BA0E-153F163E64EB}" dt="2021-11-29T12:57:19.430" v="619" actId="20577"/>
          <ac:graphicFrameMkLst>
            <pc:docMk/>
            <pc:sldMk cId="4241914170" sldId="2134805571"/>
            <ac:graphicFrameMk id="5" creationId="{ACB35D8B-CB72-4083-B8D5-44BE58A45729}"/>
          </ac:graphicFrameMkLst>
        </pc:graphicFrameChg>
      </pc:sldChg>
      <pc:sldChg chg="addSp new">
        <pc:chgData name="Thiebaut, Laurent (Nokia - FR/Paris-Saclay)" userId="5a0f83ef-4330-4e17-8828-eca8fc03b257" providerId="ADAL" clId="{4DC8A3ED-5431-4D9B-BA0E-153F163E64EB}" dt="2021-11-29T10:08:25.275" v="245"/>
        <pc:sldMkLst>
          <pc:docMk/>
          <pc:sldMk cId="581469788" sldId="2134805572"/>
        </pc:sldMkLst>
        <pc:picChg chg="add">
          <ac:chgData name="Thiebaut, Laurent (Nokia - FR/Paris-Saclay)" userId="5a0f83ef-4330-4e17-8828-eca8fc03b257" providerId="ADAL" clId="{4DC8A3ED-5431-4D9B-BA0E-153F163E64EB}" dt="2021-11-29T10:08:25.275" v="245"/>
          <ac:picMkLst>
            <pc:docMk/>
            <pc:sldMk cId="581469788" sldId="2134805572"/>
            <ac:picMk id="2050" creationId="{C3A16DB3-EEA9-4EBA-88FE-39AFC271AE2E}"/>
          </ac:picMkLst>
        </pc:picChg>
      </pc:sldChg>
      <pc:sldChg chg="addSp modSp mod ord">
        <pc:chgData name="Thiebaut, Laurent (Nokia - FR/Paris-Saclay)" userId="5a0f83ef-4330-4e17-8828-eca8fc03b257" providerId="ADAL" clId="{4DC8A3ED-5431-4D9B-BA0E-153F163E64EB}" dt="2021-11-29T12:56:53.222" v="616" actId="1076"/>
        <pc:sldMkLst>
          <pc:docMk/>
          <pc:sldMk cId="773025891" sldId="2134805572"/>
        </pc:sldMkLst>
        <pc:graphicFrameChg chg="add mod">
          <ac:chgData name="Thiebaut, Laurent (Nokia - FR/Paris-Saclay)" userId="5a0f83ef-4330-4e17-8828-eca8fc03b257" providerId="ADAL" clId="{4DC8A3ED-5431-4D9B-BA0E-153F163E64EB}" dt="2021-11-29T12:56:53.222" v="616" actId="1076"/>
          <ac:graphicFrameMkLst>
            <pc:docMk/>
            <pc:sldMk cId="773025891" sldId="2134805572"/>
            <ac:graphicFrameMk id="5" creationId="{085CAED3-0EA2-400C-BF18-AFA71C83D223}"/>
          </ac:graphicFrameMkLst>
        </pc:graphicFrameChg>
      </pc:sldChg>
      <pc:sldChg chg="delSp modSp add del">
        <pc:chgData name="Thiebaut, Laurent (Nokia - FR/Paris-Saclay)" userId="5a0f83ef-4330-4e17-8828-eca8fc03b257" providerId="ADAL" clId="{4DC8A3ED-5431-4D9B-BA0E-153F163E64EB}" dt="2021-11-29T12:42:53.543" v="254" actId="47"/>
        <pc:sldMkLst>
          <pc:docMk/>
          <pc:sldMk cId="108768219" sldId="2134805582"/>
        </pc:sldMkLst>
        <pc:picChg chg="del mod">
          <ac:chgData name="Thiebaut, Laurent (Nokia - FR/Paris-Saclay)" userId="5a0f83ef-4330-4e17-8828-eca8fc03b257" providerId="ADAL" clId="{4DC8A3ED-5431-4D9B-BA0E-153F163E64EB}" dt="2021-11-29T12:42:47.531" v="253" actId="478"/>
          <ac:picMkLst>
            <pc:docMk/>
            <pc:sldMk cId="108768219" sldId="2134805582"/>
            <ac:picMk id="2050" creationId="{C3A16DB3-EEA9-4EBA-88FE-39AFC271AE2E}"/>
          </ac:picMkLst>
        </pc:picChg>
      </pc:sldChg>
      <pc:sldChg chg="addSp modSp add mod">
        <pc:chgData name="Thiebaut, Laurent (Nokia - FR/Paris-Saclay)" userId="5a0f83ef-4330-4e17-8828-eca8fc03b257" providerId="ADAL" clId="{4DC8A3ED-5431-4D9B-BA0E-153F163E64EB}" dt="2021-11-29T12:56:04.271" v="611" actId="20577"/>
        <pc:sldMkLst>
          <pc:docMk/>
          <pc:sldMk cId="3329606578" sldId="2134805582"/>
        </pc:sldMkLst>
        <pc:spChg chg="mod">
          <ac:chgData name="Thiebaut, Laurent (Nokia - FR/Paris-Saclay)" userId="5a0f83ef-4330-4e17-8828-eca8fc03b257" providerId="ADAL" clId="{4DC8A3ED-5431-4D9B-BA0E-153F163E64EB}" dt="2021-11-29T12:56:04.271" v="611" actId="20577"/>
          <ac:spMkLst>
            <pc:docMk/>
            <pc:sldMk cId="3329606578" sldId="2134805582"/>
            <ac:spMk id="5" creationId="{0A813F0E-7224-42E6-A359-B5A9B05FEE7A}"/>
          </ac:spMkLst>
        </pc:spChg>
        <pc:graphicFrameChg chg="add mod modGraphic">
          <ac:chgData name="Thiebaut, Laurent (Nokia - FR/Paris-Saclay)" userId="5a0f83ef-4330-4e17-8828-eca8fc03b257" providerId="ADAL" clId="{4DC8A3ED-5431-4D9B-BA0E-153F163E64EB}" dt="2021-11-29T12:51:44.407" v="577" actId="20577"/>
          <ac:graphicFrameMkLst>
            <pc:docMk/>
            <pc:sldMk cId="3329606578" sldId="2134805582"/>
            <ac:graphicFrameMk id="2" creationId="{1BCADE50-EE81-4487-85CA-182E3FFF76BC}"/>
          </ac:graphicFrameMkLst>
        </pc:graphicFrameChg>
      </pc:sldChg>
      <pc:sldChg chg="addSp delSp modSp add mod">
        <pc:chgData name="Thiebaut, Laurent (Nokia - FR/Paris-Saclay)" userId="5a0f83ef-4330-4e17-8828-eca8fc03b257" providerId="ADAL" clId="{4DC8A3ED-5431-4D9B-BA0E-153F163E64EB}" dt="2021-11-30T12:03:47.116" v="765" actId="478"/>
        <pc:sldMkLst>
          <pc:docMk/>
          <pc:sldMk cId="374592939" sldId="2134805583"/>
        </pc:sldMkLst>
        <pc:spChg chg="mod">
          <ac:chgData name="Thiebaut, Laurent (Nokia - FR/Paris-Saclay)" userId="5a0f83ef-4330-4e17-8828-eca8fc03b257" providerId="ADAL" clId="{4DC8A3ED-5431-4D9B-BA0E-153F163E64EB}" dt="2021-11-29T13:15:26.405" v="674" actId="20577"/>
          <ac:spMkLst>
            <pc:docMk/>
            <pc:sldMk cId="374592939" sldId="2134805583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15:00.583" v="669"/>
          <ac:spMkLst>
            <pc:docMk/>
            <pc:sldMk cId="374592939" sldId="2134805583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17:12.420" v="690" actId="6549"/>
          <ac:spMkLst>
            <pc:docMk/>
            <pc:sldMk cId="374592939" sldId="2134805583"/>
            <ac:spMk id="4" creationId="{CD72C33D-DF40-4601-AF02-8DFD5A6EA958}"/>
          </ac:spMkLst>
        </pc:spChg>
        <pc:graphicFrameChg chg="modGraphic">
          <ac:chgData name="Thiebaut, Laurent (Nokia - FR/Paris-Saclay)" userId="5a0f83ef-4330-4e17-8828-eca8fc03b257" providerId="ADAL" clId="{4DC8A3ED-5431-4D9B-BA0E-153F163E64EB}" dt="2021-11-29T13:15:47.545" v="678" actId="20577"/>
          <ac:graphicFrameMkLst>
            <pc:docMk/>
            <pc:sldMk cId="374592939" sldId="2134805583"/>
            <ac:graphicFrameMk id="5" creationId="{C8BBFCFC-A916-4DFF-91B3-3D3FB6D6A8D0}"/>
          </ac:graphicFrameMkLst>
        </pc:graphicFrameChg>
        <pc:graphicFrameChg chg="add del mod">
          <ac:chgData name="Thiebaut, Laurent (Nokia - FR/Paris-Saclay)" userId="5a0f83ef-4330-4e17-8828-eca8fc03b257" providerId="ADAL" clId="{4DC8A3ED-5431-4D9B-BA0E-153F163E64EB}" dt="2021-11-30T12:03:47.116" v="765" actId="478"/>
          <ac:graphicFrameMkLst>
            <pc:docMk/>
            <pc:sldMk cId="374592939" sldId="2134805583"/>
            <ac:graphicFrameMk id="6" creationId="{7794E260-CE90-4BA3-964E-F43CEA25F27E}"/>
          </ac:graphicFrameMkLst>
        </pc:graphicFrameChg>
      </pc:sldChg>
      <pc:sldChg chg="modSp add mod">
        <pc:chgData name="Thiebaut, Laurent (Nokia - FR/Paris-Saclay)" userId="5a0f83ef-4330-4e17-8828-eca8fc03b257" providerId="ADAL" clId="{4DC8A3ED-5431-4D9B-BA0E-153F163E64EB}" dt="2021-11-29T13:17:04.843" v="689" actId="20577"/>
        <pc:sldMkLst>
          <pc:docMk/>
          <pc:sldMk cId="2969031349" sldId="2134805584"/>
        </pc:sldMkLst>
        <pc:spChg chg="mod">
          <ac:chgData name="Thiebaut, Laurent (Nokia - FR/Paris-Saclay)" userId="5a0f83ef-4330-4e17-8828-eca8fc03b257" providerId="ADAL" clId="{4DC8A3ED-5431-4D9B-BA0E-153F163E64EB}" dt="2021-11-29T13:16:48.930" v="686" actId="20577"/>
          <ac:spMkLst>
            <pc:docMk/>
            <pc:sldMk cId="2969031349" sldId="2134805584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16:14.742" v="679"/>
          <ac:spMkLst>
            <pc:docMk/>
            <pc:sldMk cId="2969031349" sldId="2134805584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16:58.859" v="687"/>
          <ac:spMkLst>
            <pc:docMk/>
            <pc:sldMk cId="2969031349" sldId="2134805584"/>
            <ac:spMk id="4" creationId="{CD72C33D-DF40-4601-AF02-8DFD5A6EA958}"/>
          </ac:spMkLst>
        </pc:spChg>
        <pc:graphicFrameChg chg="modGraphic">
          <ac:chgData name="Thiebaut, Laurent (Nokia - FR/Paris-Saclay)" userId="5a0f83ef-4330-4e17-8828-eca8fc03b257" providerId="ADAL" clId="{4DC8A3ED-5431-4D9B-BA0E-153F163E64EB}" dt="2021-11-29T13:17:04.843" v="689" actId="20577"/>
          <ac:graphicFrameMkLst>
            <pc:docMk/>
            <pc:sldMk cId="2969031349" sldId="2134805584"/>
            <ac:graphicFrameMk id="5" creationId="{C8BBFCFC-A916-4DFF-91B3-3D3FB6D6A8D0}"/>
          </ac:graphicFrameMkLst>
        </pc:graphicFrameChg>
      </pc:sldChg>
      <pc:sldChg chg="modSp add mod ord">
        <pc:chgData name="Thiebaut, Laurent (Nokia - FR/Paris-Saclay)" userId="5a0f83ef-4330-4e17-8828-eca8fc03b257" providerId="ADAL" clId="{4DC8A3ED-5431-4D9B-BA0E-153F163E64EB}" dt="2021-11-30T12:04:37.901" v="767"/>
        <pc:sldMkLst>
          <pc:docMk/>
          <pc:sldMk cId="2133542744" sldId="2134805585"/>
        </pc:sldMkLst>
        <pc:spChg chg="mod">
          <ac:chgData name="Thiebaut, Laurent (Nokia - FR/Paris-Saclay)" userId="5a0f83ef-4330-4e17-8828-eca8fc03b257" providerId="ADAL" clId="{4DC8A3ED-5431-4D9B-BA0E-153F163E64EB}" dt="2021-11-29T13:21:03.420" v="715" actId="20577"/>
          <ac:spMkLst>
            <pc:docMk/>
            <pc:sldMk cId="2133542744" sldId="2134805585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20:38.392" v="710" actId="108"/>
          <ac:spMkLst>
            <pc:docMk/>
            <pc:sldMk cId="2133542744" sldId="2134805585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23:50.237" v="721" actId="27636"/>
          <ac:spMkLst>
            <pc:docMk/>
            <pc:sldMk cId="2133542744" sldId="2134805585"/>
            <ac:spMk id="4" creationId="{CD72C33D-DF40-4601-AF02-8DFD5A6EA958}"/>
          </ac:spMkLst>
        </pc:spChg>
        <pc:graphicFrameChg chg="mod modGraphic">
          <ac:chgData name="Thiebaut, Laurent (Nokia - FR/Paris-Saclay)" userId="5a0f83ef-4330-4e17-8828-eca8fc03b257" providerId="ADAL" clId="{4DC8A3ED-5431-4D9B-BA0E-153F163E64EB}" dt="2021-11-29T13:24:36.469" v="735" actId="14100"/>
          <ac:graphicFrameMkLst>
            <pc:docMk/>
            <pc:sldMk cId="2133542744" sldId="2134805585"/>
            <ac:graphicFrameMk id="5" creationId="{C8BBFCFC-A916-4DFF-91B3-3D3FB6D6A8D0}"/>
          </ac:graphicFrameMkLst>
        </pc:graphicFrameChg>
      </pc:sldChg>
      <pc:sldChg chg="modSp add mod">
        <pc:chgData name="Thiebaut, Laurent (Nokia - FR/Paris-Saclay)" userId="5a0f83ef-4330-4e17-8828-eca8fc03b257" providerId="ADAL" clId="{4DC8A3ED-5431-4D9B-BA0E-153F163E64EB}" dt="2021-11-29T13:19:45.264" v="699" actId="20577"/>
        <pc:sldMkLst>
          <pc:docMk/>
          <pc:sldMk cId="1819896102" sldId="2134805586"/>
        </pc:sldMkLst>
        <pc:spChg chg="mod">
          <ac:chgData name="Thiebaut, Laurent (Nokia - FR/Paris-Saclay)" userId="5a0f83ef-4330-4e17-8828-eca8fc03b257" providerId="ADAL" clId="{4DC8A3ED-5431-4D9B-BA0E-153F163E64EB}" dt="2021-11-29T13:19:21.626" v="696" actId="20577"/>
          <ac:spMkLst>
            <pc:docMk/>
            <pc:sldMk cId="1819896102" sldId="2134805586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18:59.659" v="691"/>
          <ac:spMkLst>
            <pc:docMk/>
            <pc:sldMk cId="1819896102" sldId="2134805586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19:32.438" v="697"/>
          <ac:spMkLst>
            <pc:docMk/>
            <pc:sldMk cId="1819896102" sldId="2134805586"/>
            <ac:spMk id="4" creationId="{CD72C33D-DF40-4601-AF02-8DFD5A6EA958}"/>
          </ac:spMkLst>
        </pc:spChg>
        <pc:graphicFrameChg chg="modGraphic">
          <ac:chgData name="Thiebaut, Laurent (Nokia - FR/Paris-Saclay)" userId="5a0f83ef-4330-4e17-8828-eca8fc03b257" providerId="ADAL" clId="{4DC8A3ED-5431-4D9B-BA0E-153F163E64EB}" dt="2021-11-29T13:19:45.264" v="699" actId="20577"/>
          <ac:graphicFrameMkLst>
            <pc:docMk/>
            <pc:sldMk cId="1819896102" sldId="2134805586"/>
            <ac:graphicFrameMk id="5" creationId="{C8BBFCFC-A916-4DFF-91B3-3D3FB6D6A8D0}"/>
          </ac:graphicFrameMkLst>
        </pc:graphicFrameChg>
      </pc:sldChg>
      <pc:sldChg chg="addSp modSp add mod">
        <pc:chgData name="Thiebaut, Laurent (Nokia - FR/Paris-Saclay)" userId="5a0f83ef-4330-4e17-8828-eca8fc03b257" providerId="ADAL" clId="{4DC8A3ED-5431-4D9B-BA0E-153F163E64EB}" dt="2021-11-29T13:27:59.120" v="747" actId="22"/>
        <pc:sldMkLst>
          <pc:docMk/>
          <pc:sldMk cId="681358297" sldId="2134805587"/>
        </pc:sldMkLst>
        <pc:spChg chg="mod">
          <ac:chgData name="Thiebaut, Laurent (Nokia - FR/Paris-Saclay)" userId="5a0f83ef-4330-4e17-8828-eca8fc03b257" providerId="ADAL" clId="{4DC8A3ED-5431-4D9B-BA0E-153F163E64EB}" dt="2021-11-29T13:27:41.462" v="746"/>
          <ac:spMkLst>
            <pc:docMk/>
            <pc:sldMk cId="681358297" sldId="2134805587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25:34.623" v="739"/>
          <ac:spMkLst>
            <pc:docMk/>
            <pc:sldMk cId="681358297" sldId="2134805587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26:50.908" v="742" actId="27636"/>
          <ac:spMkLst>
            <pc:docMk/>
            <pc:sldMk cId="681358297" sldId="2134805587"/>
            <ac:spMk id="4" creationId="{CD72C33D-DF40-4601-AF02-8DFD5A6EA958}"/>
          </ac:spMkLst>
        </pc:spChg>
        <pc:spChg chg="add">
          <ac:chgData name="Thiebaut, Laurent (Nokia - FR/Paris-Saclay)" userId="5a0f83ef-4330-4e17-8828-eca8fc03b257" providerId="ADAL" clId="{4DC8A3ED-5431-4D9B-BA0E-153F163E64EB}" dt="2021-11-29T13:27:59.120" v="747" actId="22"/>
          <ac:spMkLst>
            <pc:docMk/>
            <pc:sldMk cId="681358297" sldId="2134805587"/>
            <ac:spMk id="7" creationId="{C8DA2129-E52F-4F4F-A4EC-6FA2CEC5760A}"/>
          </ac:spMkLst>
        </pc:spChg>
        <pc:graphicFrameChg chg="modGraphic">
          <ac:chgData name="Thiebaut, Laurent (Nokia - FR/Paris-Saclay)" userId="5a0f83ef-4330-4e17-8828-eca8fc03b257" providerId="ADAL" clId="{4DC8A3ED-5431-4D9B-BA0E-153F163E64EB}" dt="2021-11-29T13:27:07.111" v="744" actId="20577"/>
          <ac:graphicFrameMkLst>
            <pc:docMk/>
            <pc:sldMk cId="681358297" sldId="2134805587"/>
            <ac:graphicFrameMk id="5" creationId="{C8BBFCFC-A916-4DFF-91B3-3D3FB6D6A8D0}"/>
          </ac:graphicFrameMkLst>
        </pc:graphicFrameChg>
      </pc:sldChg>
      <pc:sldChg chg="delSp modSp add mod">
        <pc:chgData name="Thiebaut, Laurent (Nokia - FR/Paris-Saclay)" userId="5a0f83ef-4330-4e17-8828-eca8fc03b257" providerId="ADAL" clId="{4DC8A3ED-5431-4D9B-BA0E-153F163E64EB}" dt="2021-11-29T13:29:43.187" v="759" actId="20577"/>
        <pc:sldMkLst>
          <pc:docMk/>
          <pc:sldMk cId="708409047" sldId="2134805588"/>
        </pc:sldMkLst>
        <pc:spChg chg="mod">
          <ac:chgData name="Thiebaut, Laurent (Nokia - FR/Paris-Saclay)" userId="5a0f83ef-4330-4e17-8828-eca8fc03b257" providerId="ADAL" clId="{4DC8A3ED-5431-4D9B-BA0E-153F163E64EB}" dt="2021-11-29T13:29:43.187" v="759" actId="20577"/>
          <ac:spMkLst>
            <pc:docMk/>
            <pc:sldMk cId="708409047" sldId="2134805588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28:35.233" v="752"/>
          <ac:spMkLst>
            <pc:docMk/>
            <pc:sldMk cId="708409047" sldId="2134805588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4DC8A3ED-5431-4D9B-BA0E-153F163E64EB}" dt="2021-11-29T13:29:38.505" v="756" actId="27636"/>
          <ac:spMkLst>
            <pc:docMk/>
            <pc:sldMk cId="708409047" sldId="2134805588"/>
            <ac:spMk id="4" creationId="{CD72C33D-DF40-4601-AF02-8DFD5A6EA958}"/>
          </ac:spMkLst>
        </pc:spChg>
        <pc:spChg chg="del">
          <ac:chgData name="Thiebaut, Laurent (Nokia - FR/Paris-Saclay)" userId="5a0f83ef-4330-4e17-8828-eca8fc03b257" providerId="ADAL" clId="{4DC8A3ED-5431-4D9B-BA0E-153F163E64EB}" dt="2021-11-29T13:28:53.653" v="754" actId="478"/>
          <ac:spMkLst>
            <pc:docMk/>
            <pc:sldMk cId="708409047" sldId="2134805588"/>
            <ac:spMk id="7" creationId="{C8DA2129-E52F-4F4F-A4EC-6FA2CEC5760A}"/>
          </ac:spMkLst>
        </pc:spChg>
      </pc:sldChg>
      <pc:sldMasterChg chg="delSp modSp mod delSldLayout">
        <pc:chgData name="Thiebaut, Laurent (Nokia - FR/Paris-Saclay)" userId="5a0f83ef-4330-4e17-8828-eca8fc03b257" providerId="ADAL" clId="{4DC8A3ED-5431-4D9B-BA0E-153F163E64EB}" dt="2021-11-29T12:53:31.244" v="588" actId="1076"/>
        <pc:sldMasterMkLst>
          <pc:docMk/>
          <pc:sldMasterMk cId="4241891639" sldId="2147483650"/>
        </pc:sldMasterMkLst>
        <pc:spChg chg="del">
          <ac:chgData name="Thiebaut, Laurent (Nokia - FR/Paris-Saclay)" userId="5a0f83ef-4330-4e17-8828-eca8fc03b257" providerId="ADAL" clId="{4DC8A3ED-5431-4D9B-BA0E-153F163E64EB}" dt="2021-11-29T12:53:24.773" v="587" actId="478"/>
          <ac:spMkLst>
            <pc:docMk/>
            <pc:sldMasterMk cId="4241891639" sldId="2147483650"/>
            <ac:spMk id="11" creationId="{87D0E1A0-C19A-4DB8-BA1F-3D71830D1A93}"/>
          </ac:spMkLst>
        </pc:spChg>
        <pc:spChg chg="mod">
          <ac:chgData name="Thiebaut, Laurent (Nokia - FR/Paris-Saclay)" userId="5a0f83ef-4330-4e17-8828-eca8fc03b257" providerId="ADAL" clId="{4DC8A3ED-5431-4D9B-BA0E-153F163E64EB}" dt="2021-11-29T12:53:31.244" v="588" actId="1076"/>
          <ac:spMkLst>
            <pc:docMk/>
            <pc:sldMasterMk cId="4241891639" sldId="2147483650"/>
            <ac:spMk id="12" creationId="{7920C8E0-2BA3-45B9-8A9F-1B9E59157439}"/>
          </ac:spMkLst>
        </pc:spChg>
        <pc:sldLayoutChg chg="del">
          <pc:chgData name="Thiebaut, Laurent (Nokia - FR/Paris-Saclay)" userId="5a0f83ef-4330-4e17-8828-eca8fc03b257" providerId="ADAL" clId="{4DC8A3ED-5431-4D9B-BA0E-153F163E64EB}" dt="2021-11-29T09:58:43.547" v="133" actId="47"/>
          <pc:sldLayoutMkLst>
            <pc:docMk/>
            <pc:sldMasterMk cId="4241891639" sldId="2147483650"/>
            <pc:sldLayoutMk cId="2904350597" sldId="2147483728"/>
          </pc:sldLayoutMkLst>
        </pc:sldLayoutChg>
      </pc:sldMasterChg>
    </pc:docChg>
  </pc:docChgLst>
  <pc:docChgLst>
    <pc:chgData name="Hietalahti, Hannu (Nokia - FI/Oulu)" userId="bcd6d86d-9ffc-4aa1-b5a6-083a51dd89a7" providerId="ADAL" clId="{0C7DF2F6-55D6-4719-8644-1044F2EFFD15}"/>
    <pc:docChg chg="undo custSel addSld modSld">
      <pc:chgData name="Hietalahti, Hannu (Nokia - FI/Oulu)" userId="bcd6d86d-9ffc-4aa1-b5a6-083a51dd89a7" providerId="ADAL" clId="{0C7DF2F6-55D6-4719-8644-1044F2EFFD15}" dt="2021-10-26T10:42:25.624" v="691" actId="2711"/>
      <pc:docMkLst>
        <pc:docMk/>
      </pc:docMkLst>
      <pc:sldChg chg="modSp mod">
        <pc:chgData name="Hietalahti, Hannu (Nokia - FI/Oulu)" userId="bcd6d86d-9ffc-4aa1-b5a6-083a51dd89a7" providerId="ADAL" clId="{0C7DF2F6-55D6-4719-8644-1044F2EFFD15}" dt="2021-10-26T10:42:25.624" v="691" actId="2711"/>
        <pc:sldMkLst>
          <pc:docMk/>
          <pc:sldMk cId="610602330" sldId="352"/>
        </pc:sldMkLst>
        <pc:spChg chg="mod">
          <ac:chgData name="Hietalahti, Hannu (Nokia - FI/Oulu)" userId="bcd6d86d-9ffc-4aa1-b5a6-083a51dd89a7" providerId="ADAL" clId="{0C7DF2F6-55D6-4719-8644-1044F2EFFD15}" dt="2021-10-26T10:42:25.624" v="691" actId="2711"/>
          <ac:spMkLst>
            <pc:docMk/>
            <pc:sldMk cId="610602330" sldId="352"/>
            <ac:spMk id="5" creationId="{A560F786-3A6C-41F0-99EF-DFF4DE7F777C}"/>
          </ac:spMkLst>
        </pc:spChg>
      </pc:sldChg>
      <pc:sldChg chg="modSp mod">
        <pc:chgData name="Hietalahti, Hannu (Nokia - FI/Oulu)" userId="bcd6d86d-9ffc-4aa1-b5a6-083a51dd89a7" providerId="ADAL" clId="{0C7DF2F6-55D6-4719-8644-1044F2EFFD15}" dt="2021-10-26T10:27:26.936" v="242" actId="20577"/>
        <pc:sldMkLst>
          <pc:docMk/>
          <pc:sldMk cId="4270947000" sldId="2134805404"/>
        </pc:sldMkLst>
        <pc:spChg chg="mod">
          <ac:chgData name="Hietalahti, Hannu (Nokia - FI/Oulu)" userId="bcd6d86d-9ffc-4aa1-b5a6-083a51dd89a7" providerId="ADAL" clId="{0C7DF2F6-55D6-4719-8644-1044F2EFFD15}" dt="2021-10-26T10:24:46.628" v="64" actId="404"/>
          <ac:spMkLst>
            <pc:docMk/>
            <pc:sldMk cId="4270947000" sldId="2134805404"/>
            <ac:spMk id="2" creationId="{673AE4A4-F521-4B46-BB77-BDFFF6278B02}"/>
          </ac:spMkLst>
        </pc:spChg>
        <pc:spChg chg="mod">
          <ac:chgData name="Hietalahti, Hannu (Nokia - FI/Oulu)" userId="bcd6d86d-9ffc-4aa1-b5a6-083a51dd89a7" providerId="ADAL" clId="{0C7DF2F6-55D6-4719-8644-1044F2EFFD15}" dt="2021-10-26T10:27:26.936" v="242" actId="20577"/>
          <ac:spMkLst>
            <pc:docMk/>
            <pc:sldMk cId="4270947000" sldId="2134805404"/>
            <ac:spMk id="7" creationId="{51855F48-622D-49D1-8300-678891D711F6}"/>
          </ac:spMkLst>
        </pc:spChg>
      </pc:sldChg>
      <pc:sldChg chg="modSp add mod">
        <pc:chgData name="Hietalahti, Hannu (Nokia - FI/Oulu)" userId="bcd6d86d-9ffc-4aa1-b5a6-083a51dd89a7" providerId="ADAL" clId="{0C7DF2F6-55D6-4719-8644-1044F2EFFD15}" dt="2021-10-26T10:39:48.855" v="562" actId="6549"/>
        <pc:sldMkLst>
          <pc:docMk/>
          <pc:sldMk cId="711231255" sldId="2134805523"/>
        </pc:sldMkLst>
        <pc:spChg chg="mod">
          <ac:chgData name="Hietalahti, Hannu (Nokia - FI/Oulu)" userId="bcd6d86d-9ffc-4aa1-b5a6-083a51dd89a7" providerId="ADAL" clId="{0C7DF2F6-55D6-4719-8644-1044F2EFFD15}" dt="2021-10-26T10:27:14.895" v="225" actId="20577"/>
          <ac:spMkLst>
            <pc:docMk/>
            <pc:sldMk cId="711231255" sldId="2134805523"/>
            <ac:spMk id="3" creationId="{5B84A4F0-57DA-4FC9-AEAC-815E3FF90221}"/>
          </ac:spMkLst>
        </pc:spChg>
        <pc:spChg chg="mod">
          <ac:chgData name="Hietalahti, Hannu (Nokia - FI/Oulu)" userId="bcd6d86d-9ffc-4aa1-b5a6-083a51dd89a7" providerId="ADAL" clId="{0C7DF2F6-55D6-4719-8644-1044F2EFFD15}" dt="2021-10-26T10:26:13.358" v="181" actId="20577"/>
          <ac:spMkLst>
            <pc:docMk/>
            <pc:sldMk cId="711231255" sldId="2134805523"/>
            <ac:spMk id="4" creationId="{BDC7D266-0891-4430-9759-534065AEEEF3}"/>
          </ac:spMkLst>
        </pc:spChg>
        <pc:spChg chg="mod">
          <ac:chgData name="Hietalahti, Hannu (Nokia - FI/Oulu)" userId="bcd6d86d-9ffc-4aa1-b5a6-083a51dd89a7" providerId="ADAL" clId="{0C7DF2F6-55D6-4719-8644-1044F2EFFD15}" dt="2021-10-26T10:39:48.855" v="562" actId="6549"/>
          <ac:spMkLst>
            <pc:docMk/>
            <pc:sldMk cId="711231255" sldId="2134805523"/>
            <ac:spMk id="5" creationId="{A560F786-3A6C-41F0-99EF-DFF4DE7F777C}"/>
          </ac:spMkLst>
        </pc:spChg>
      </pc:sldChg>
    </pc:docChg>
  </pc:docChgLst>
  <pc:docChgLst>
    <pc:chgData name="Liebhart, Rainer (Nokia - DE/Munich)" userId="9d27e965-bed7-441e-8c07-02c758a9258d" providerId="ADAL" clId="{100C8CEB-9BEF-46DC-8364-08DF76C3D0E6}"/>
    <pc:docChg chg="custSel delSld modSld sldOrd">
      <pc:chgData name="Liebhart, Rainer (Nokia - DE/Munich)" userId="9d27e965-bed7-441e-8c07-02c758a9258d" providerId="ADAL" clId="{100C8CEB-9BEF-46DC-8364-08DF76C3D0E6}" dt="2021-04-26T07:26:36.753" v="332" actId="20577"/>
      <pc:docMkLst>
        <pc:docMk/>
      </pc:docMkLst>
      <pc:sldChg chg="modSp mod">
        <pc:chgData name="Liebhart, Rainer (Nokia - DE/Munich)" userId="9d27e965-bed7-441e-8c07-02c758a9258d" providerId="ADAL" clId="{100C8CEB-9BEF-46DC-8364-08DF76C3D0E6}" dt="2021-04-26T07:26:36.753" v="332" actId="20577"/>
        <pc:sldMkLst>
          <pc:docMk/>
          <pc:sldMk cId="2093721602" sldId="2134805360"/>
        </pc:sldMkLst>
        <pc:spChg chg="mod">
          <ac:chgData name="Liebhart, Rainer (Nokia - DE/Munich)" userId="9d27e965-bed7-441e-8c07-02c758a9258d" providerId="ADAL" clId="{100C8CEB-9BEF-46DC-8364-08DF76C3D0E6}" dt="2021-04-26T07:26:36.753" v="332" actId="20577"/>
          <ac:spMkLst>
            <pc:docMk/>
            <pc:sldMk cId="2093721602" sldId="2134805360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100C8CEB-9BEF-46DC-8364-08DF76C3D0E6}" dt="2021-04-22T08:25:53.370" v="91" actId="113"/>
        <pc:sldMkLst>
          <pc:docMk/>
          <pc:sldMk cId="1079460770" sldId="2134805373"/>
        </pc:sldMkLst>
        <pc:spChg chg="mod">
          <ac:chgData name="Liebhart, Rainer (Nokia - DE/Munich)" userId="9d27e965-bed7-441e-8c07-02c758a9258d" providerId="ADAL" clId="{100C8CEB-9BEF-46DC-8364-08DF76C3D0E6}" dt="2021-04-22T08:25:53.370" v="91" actId="113"/>
          <ac:spMkLst>
            <pc:docMk/>
            <pc:sldMk cId="1079460770" sldId="2134805373"/>
            <ac:spMk id="6" creationId="{2E20DBE3-132B-4E49-9B12-D7A9DE1B1D38}"/>
          </ac:spMkLst>
        </pc:spChg>
      </pc:sldChg>
      <pc:sldChg chg="modSp mod">
        <pc:chgData name="Liebhart, Rainer (Nokia - DE/Munich)" userId="9d27e965-bed7-441e-8c07-02c758a9258d" providerId="ADAL" clId="{100C8CEB-9BEF-46DC-8364-08DF76C3D0E6}" dt="2021-04-22T08:26:50.787" v="99" actId="113"/>
        <pc:sldMkLst>
          <pc:docMk/>
          <pc:sldMk cId="3206141227" sldId="2134805374"/>
        </pc:sldMkLst>
        <pc:spChg chg="mod">
          <ac:chgData name="Liebhart, Rainer (Nokia - DE/Munich)" userId="9d27e965-bed7-441e-8c07-02c758a9258d" providerId="ADAL" clId="{100C8CEB-9BEF-46DC-8364-08DF76C3D0E6}" dt="2021-04-22T08:26:50.787" v="99" actId="113"/>
          <ac:spMkLst>
            <pc:docMk/>
            <pc:sldMk cId="3206141227" sldId="2134805374"/>
            <ac:spMk id="6" creationId="{2E20DBE3-132B-4E49-9B12-D7A9DE1B1D38}"/>
          </ac:spMkLst>
        </pc:spChg>
      </pc:sldChg>
      <pc:sldChg chg="delSp modSp del mod">
        <pc:chgData name="Liebhart, Rainer (Nokia - DE/Munich)" userId="9d27e965-bed7-441e-8c07-02c758a9258d" providerId="ADAL" clId="{100C8CEB-9BEF-46DC-8364-08DF76C3D0E6}" dt="2021-04-26T07:26:08.444" v="319" actId="47"/>
        <pc:sldMkLst>
          <pc:docMk/>
          <pc:sldMk cId="2417613584" sldId="2134805421"/>
        </pc:sldMkLst>
        <pc:spChg chg="mod">
          <ac:chgData name="Liebhart, Rainer (Nokia - DE/Munich)" userId="9d27e965-bed7-441e-8c07-02c758a9258d" providerId="ADAL" clId="{100C8CEB-9BEF-46DC-8364-08DF76C3D0E6}" dt="2021-04-23T16:16:12.051" v="313" actId="108"/>
          <ac:spMkLst>
            <pc:docMk/>
            <pc:sldMk cId="2417613584" sldId="2134805421"/>
            <ac:spMk id="4" creationId="{5C8D5078-B8D0-4095-8466-64F7613FE8A6}"/>
          </ac:spMkLst>
        </pc:spChg>
        <pc:picChg chg="del">
          <ac:chgData name="Liebhart, Rainer (Nokia - DE/Munich)" userId="9d27e965-bed7-441e-8c07-02c758a9258d" providerId="ADAL" clId="{100C8CEB-9BEF-46DC-8364-08DF76C3D0E6}" dt="2021-04-23T16:14:55.468" v="236"/>
          <ac:picMkLst>
            <pc:docMk/>
            <pc:sldMk cId="2417613584" sldId="2134805421"/>
            <ac:picMk id="5" creationId="{C64427C5-2C32-475B-9E77-C2C4550B5B64}"/>
          </ac:picMkLst>
        </pc:picChg>
      </pc:sldChg>
      <pc:sldChg chg="modSp mod">
        <pc:chgData name="Liebhart, Rainer (Nokia - DE/Munich)" userId="9d27e965-bed7-441e-8c07-02c758a9258d" providerId="ADAL" clId="{100C8CEB-9BEF-46DC-8364-08DF76C3D0E6}" dt="2021-04-22T08:27:27.328" v="106" actId="113"/>
        <pc:sldMkLst>
          <pc:docMk/>
          <pc:sldMk cId="4175772979" sldId="2134805434"/>
        </pc:sldMkLst>
        <pc:spChg chg="mod">
          <ac:chgData name="Liebhart, Rainer (Nokia - DE/Munich)" userId="9d27e965-bed7-441e-8c07-02c758a9258d" providerId="ADAL" clId="{100C8CEB-9BEF-46DC-8364-08DF76C3D0E6}" dt="2021-04-22T08:27:27.328" v="106" actId="113"/>
          <ac:spMkLst>
            <pc:docMk/>
            <pc:sldMk cId="4175772979" sldId="2134805434"/>
            <ac:spMk id="6" creationId="{2E20DBE3-132B-4E49-9B12-D7A9DE1B1D38}"/>
          </ac:spMkLst>
        </pc:spChg>
      </pc:sldChg>
      <pc:sldChg chg="modSp del mod">
        <pc:chgData name="Liebhart, Rainer (Nokia - DE/Munich)" userId="9d27e965-bed7-441e-8c07-02c758a9258d" providerId="ADAL" clId="{100C8CEB-9BEF-46DC-8364-08DF76C3D0E6}" dt="2021-04-23T16:11:53.915" v="207" actId="47"/>
        <pc:sldMkLst>
          <pc:docMk/>
          <pc:sldMk cId="219083329" sldId="2134805435"/>
        </pc:sldMkLst>
        <pc:spChg chg="mod">
          <ac:chgData name="Liebhart, Rainer (Nokia - DE/Munich)" userId="9d27e965-bed7-441e-8c07-02c758a9258d" providerId="ADAL" clId="{100C8CEB-9BEF-46DC-8364-08DF76C3D0E6}" dt="2021-04-22T08:24:39.497" v="77" actId="6549"/>
          <ac:spMkLst>
            <pc:docMk/>
            <pc:sldMk cId="219083329" sldId="2134805435"/>
            <ac:spMk id="6" creationId="{2E20DBE3-132B-4E49-9B12-D7A9DE1B1D38}"/>
          </ac:spMkLst>
        </pc:spChg>
      </pc:sldChg>
      <pc:sldChg chg="modSp mod ord">
        <pc:chgData name="Liebhart, Rainer (Nokia - DE/Munich)" userId="9d27e965-bed7-441e-8c07-02c758a9258d" providerId="ADAL" clId="{100C8CEB-9BEF-46DC-8364-08DF76C3D0E6}" dt="2021-04-23T16:22:05.554" v="318" actId="108"/>
        <pc:sldMkLst>
          <pc:docMk/>
          <pc:sldMk cId="1085580233" sldId="2134805463"/>
        </pc:sldMkLst>
        <pc:spChg chg="mod">
          <ac:chgData name="Liebhart, Rainer (Nokia - DE/Munich)" userId="9d27e965-bed7-441e-8c07-02c758a9258d" providerId="ADAL" clId="{100C8CEB-9BEF-46DC-8364-08DF76C3D0E6}" dt="2021-04-23T16:11:12.865" v="197" actId="6549"/>
          <ac:spMkLst>
            <pc:docMk/>
            <pc:sldMk cId="1085580233" sldId="2134805463"/>
            <ac:spMk id="3" creationId="{733E8E6D-C5E1-4277-9171-E65A00B3E33F}"/>
          </ac:spMkLst>
        </pc:spChg>
        <pc:spChg chg="mod">
          <ac:chgData name="Liebhart, Rainer (Nokia - DE/Munich)" userId="9d27e965-bed7-441e-8c07-02c758a9258d" providerId="ADAL" clId="{100C8CEB-9BEF-46DC-8364-08DF76C3D0E6}" dt="2021-04-23T16:22:05.554" v="318" actId="108"/>
          <ac:spMkLst>
            <pc:docMk/>
            <pc:sldMk cId="1085580233" sldId="2134805463"/>
            <ac:spMk id="6" creationId="{2E20DBE3-132B-4E49-9B12-D7A9DE1B1D38}"/>
          </ac:spMkLst>
        </pc:spChg>
      </pc:sldChg>
    </pc:docChg>
  </pc:docChgLst>
  <pc:docChgLst>
    <pc:chgData name="Georgios Gkellas (Nokia)" userId="S::georgios.gkellas@nokia.com::14ba2343-2450-4dd7-bb6e-3fde05a409c8" providerId="AD" clId="Web-{5AAEF449-F389-6D2A-AE84-A30413117423}"/>
    <pc:docChg chg="modSld">
      <pc:chgData name="Georgios Gkellas (Nokia)" userId="S::georgios.gkellas@nokia.com::14ba2343-2450-4dd7-bb6e-3fde05a409c8" providerId="AD" clId="Web-{5AAEF449-F389-6D2A-AE84-A30413117423}" dt="2023-03-06T11:39:57.318" v="467" actId="14100"/>
      <pc:docMkLst>
        <pc:docMk/>
      </pc:docMkLst>
      <pc:sldChg chg="modSp">
        <pc:chgData name="Georgios Gkellas (Nokia)" userId="S::georgios.gkellas@nokia.com::14ba2343-2450-4dd7-bb6e-3fde05a409c8" providerId="AD" clId="Web-{5AAEF449-F389-6D2A-AE84-A30413117423}" dt="2023-03-06T08:58:59.832" v="126" actId="1076"/>
        <pc:sldMkLst>
          <pc:docMk/>
          <pc:sldMk cId="231888069" sldId="2134805456"/>
        </pc:sldMkLst>
        <pc:spChg chg="mod">
          <ac:chgData name="Georgios Gkellas (Nokia)" userId="S::georgios.gkellas@nokia.com::14ba2343-2450-4dd7-bb6e-3fde05a409c8" providerId="AD" clId="Web-{5AAEF449-F389-6D2A-AE84-A30413117423}" dt="2023-03-06T08:32:25.357" v="120" actId="1076"/>
          <ac:spMkLst>
            <pc:docMk/>
            <pc:sldMk cId="231888069" sldId="2134805456"/>
            <ac:spMk id="2" creationId="{0F3C7161-3C2B-4B91-BF5A-ACDACECFA7CA}"/>
          </ac:spMkLst>
        </pc:spChg>
        <pc:spChg chg="mod">
          <ac:chgData name="Georgios Gkellas (Nokia)" userId="S::georgios.gkellas@nokia.com::14ba2343-2450-4dd7-bb6e-3fde05a409c8" providerId="AD" clId="Web-{5AAEF449-F389-6D2A-AE84-A30413117423}" dt="2023-03-06T08:32:40.310" v="125" actId="20577"/>
          <ac:spMkLst>
            <pc:docMk/>
            <pc:sldMk cId="231888069" sldId="2134805456"/>
            <ac:spMk id="6" creationId="{2E20DBE3-132B-4E49-9B12-D7A9DE1B1D38}"/>
          </ac:spMkLst>
        </pc:spChg>
        <pc:spChg chg="mod">
          <ac:chgData name="Georgios Gkellas (Nokia)" userId="S::georgios.gkellas@nokia.com::14ba2343-2450-4dd7-bb6e-3fde05a409c8" providerId="AD" clId="Web-{5AAEF449-F389-6D2A-AE84-A30413117423}" dt="2023-03-06T08:32:25.389" v="121" actId="1076"/>
          <ac:spMkLst>
            <pc:docMk/>
            <pc:sldMk cId="231888069" sldId="2134805456"/>
            <ac:spMk id="10" creationId="{F426E5C8-F5C1-4730-8D5B-949C02046801}"/>
          </ac:spMkLst>
        </pc:spChg>
        <pc:spChg chg="mod">
          <ac:chgData name="Georgios Gkellas (Nokia)" userId="S::georgios.gkellas@nokia.com::14ba2343-2450-4dd7-bb6e-3fde05a409c8" providerId="AD" clId="Web-{5AAEF449-F389-6D2A-AE84-A30413117423}" dt="2023-03-06T08:32:25.404" v="122" actId="1076"/>
          <ac:spMkLst>
            <pc:docMk/>
            <pc:sldMk cId="231888069" sldId="2134805456"/>
            <ac:spMk id="11" creationId="{D378633D-C3DD-46D2-A179-12776B4ACDDE}"/>
          </ac:spMkLst>
        </pc:spChg>
        <pc:graphicFrameChg chg="mod">
          <ac:chgData name="Georgios Gkellas (Nokia)" userId="S::georgios.gkellas@nokia.com::14ba2343-2450-4dd7-bb6e-3fde05a409c8" providerId="AD" clId="Web-{5AAEF449-F389-6D2A-AE84-A30413117423}" dt="2023-03-06T08:58:59.832" v="126" actId="1076"/>
          <ac:graphicFrameMkLst>
            <pc:docMk/>
            <pc:sldMk cId="231888069" sldId="2134805456"/>
            <ac:graphicFrameMk id="12" creationId="{1ED63F38-90E8-4365-8199-BDC06726F2CD}"/>
          </ac:graphicFrameMkLst>
        </pc:graphicFrameChg>
      </pc:sldChg>
      <pc:sldChg chg="modSp">
        <pc:chgData name="Georgios Gkellas (Nokia)" userId="S::georgios.gkellas@nokia.com::14ba2343-2450-4dd7-bb6e-3fde05a409c8" providerId="AD" clId="Web-{5AAEF449-F389-6D2A-AE84-A30413117423}" dt="2023-03-06T09:56:45.420" v="155" actId="20577"/>
        <pc:sldMkLst>
          <pc:docMk/>
          <pc:sldMk cId="2709855308" sldId="2134805464"/>
        </pc:sldMkLst>
        <pc:spChg chg="mod">
          <ac:chgData name="Georgios Gkellas (Nokia)" userId="S::georgios.gkellas@nokia.com::14ba2343-2450-4dd7-bb6e-3fde05a409c8" providerId="AD" clId="Web-{5AAEF449-F389-6D2A-AE84-A30413117423}" dt="2023-03-06T09:56:45.420" v="155" actId="20577"/>
          <ac:spMkLst>
            <pc:docMk/>
            <pc:sldMk cId="2709855308" sldId="2134805464"/>
            <ac:spMk id="6" creationId="{2E20DBE3-132B-4E49-9B12-D7A9DE1B1D38}"/>
          </ac:spMkLst>
        </pc:spChg>
      </pc:sldChg>
      <pc:sldChg chg="modSp">
        <pc:chgData name="Georgios Gkellas (Nokia)" userId="S::georgios.gkellas@nokia.com::14ba2343-2450-4dd7-bb6e-3fde05a409c8" providerId="AD" clId="Web-{5AAEF449-F389-6D2A-AE84-A30413117423}" dt="2023-03-06T11:39:57.318" v="467" actId="14100"/>
        <pc:sldMkLst>
          <pc:docMk/>
          <pc:sldMk cId="2649463080" sldId="2134805617"/>
        </pc:sldMkLst>
        <pc:spChg chg="mod">
          <ac:chgData name="Georgios Gkellas (Nokia)" userId="S::georgios.gkellas@nokia.com::14ba2343-2450-4dd7-bb6e-3fde05a409c8" providerId="AD" clId="Web-{5AAEF449-F389-6D2A-AE84-A30413117423}" dt="2023-03-06T11:39:57.318" v="467" actId="14100"/>
          <ac:spMkLst>
            <pc:docMk/>
            <pc:sldMk cId="2649463080" sldId="2134805617"/>
            <ac:spMk id="4" creationId="{FD9B9349-5219-4A4E-8125-7E6F849D4C07}"/>
          </ac:spMkLst>
        </pc:spChg>
      </pc:sldChg>
      <pc:sldChg chg="addSp modSp">
        <pc:chgData name="Georgios Gkellas (Nokia)" userId="S::georgios.gkellas@nokia.com::14ba2343-2450-4dd7-bb6e-3fde05a409c8" providerId="AD" clId="Web-{5AAEF449-F389-6D2A-AE84-A30413117423}" dt="2023-03-06T10:12:39.504" v="176" actId="1076"/>
        <pc:sldMkLst>
          <pc:docMk/>
          <pc:sldMk cId="3858645594" sldId="2146846988"/>
        </pc:sldMkLst>
        <pc:spChg chg="mod">
          <ac:chgData name="Georgios Gkellas (Nokia)" userId="S::georgios.gkellas@nokia.com::14ba2343-2450-4dd7-bb6e-3fde05a409c8" providerId="AD" clId="Web-{5AAEF449-F389-6D2A-AE84-A30413117423}" dt="2023-03-06T10:12:39.364" v="173" actId="1076"/>
          <ac:spMkLst>
            <pc:docMk/>
            <pc:sldMk cId="3858645594" sldId="2146846988"/>
            <ac:spMk id="7" creationId="{193ABD7E-3D46-4B5B-ADD9-E6E70D7E6726}"/>
          </ac:spMkLst>
        </pc:spChg>
        <pc:spChg chg="mod">
          <ac:chgData name="Georgios Gkellas (Nokia)" userId="S::georgios.gkellas@nokia.com::14ba2343-2450-4dd7-bb6e-3fde05a409c8" providerId="AD" clId="Web-{5AAEF449-F389-6D2A-AE84-A30413117423}" dt="2023-03-06T10:12:39.442" v="174" actId="1076"/>
          <ac:spMkLst>
            <pc:docMk/>
            <pc:sldMk cId="3858645594" sldId="2146846988"/>
            <ac:spMk id="9" creationId="{35C1AC4A-C946-4B46-9F98-9B5BC8C2018A}"/>
          </ac:spMkLst>
        </pc:spChg>
        <pc:spChg chg="mod">
          <ac:chgData name="Georgios Gkellas (Nokia)" userId="S::georgios.gkellas@nokia.com::14ba2343-2450-4dd7-bb6e-3fde05a409c8" providerId="AD" clId="Web-{5AAEF449-F389-6D2A-AE84-A30413117423}" dt="2023-03-06T10:12:39.504" v="176" actId="1076"/>
          <ac:spMkLst>
            <pc:docMk/>
            <pc:sldMk cId="3858645594" sldId="2146846988"/>
            <ac:spMk id="13" creationId="{FD98391A-3215-45FE-9F20-A1163D4C503B}"/>
          </ac:spMkLst>
        </pc:spChg>
        <pc:graphicFrameChg chg="mod">
          <ac:chgData name="Georgios Gkellas (Nokia)" userId="S::georgios.gkellas@nokia.com::14ba2343-2450-4dd7-bb6e-3fde05a409c8" providerId="AD" clId="Web-{5AAEF449-F389-6D2A-AE84-A30413117423}" dt="2023-03-06T10:12:39.473" v="175" actId="1076"/>
          <ac:graphicFrameMkLst>
            <pc:docMk/>
            <pc:sldMk cId="3858645594" sldId="2146846988"/>
            <ac:graphicFrameMk id="10" creationId="{57E0A60E-1FFC-433D-8048-3178A226F690}"/>
          </ac:graphicFrameMkLst>
        </pc:graphicFrameChg>
        <pc:picChg chg="add mod">
          <ac:chgData name="Georgios Gkellas (Nokia)" userId="S::georgios.gkellas@nokia.com::14ba2343-2450-4dd7-bb6e-3fde05a409c8" providerId="AD" clId="Web-{5AAEF449-F389-6D2A-AE84-A30413117423}" dt="2023-03-06T10:12:25.161" v="172" actId="1076"/>
          <ac:picMkLst>
            <pc:docMk/>
            <pc:sldMk cId="3858645594" sldId="2146846988"/>
            <ac:picMk id="2" creationId="{A785318C-A657-2433-098E-F840E19EA8DF}"/>
          </ac:picMkLst>
        </pc:picChg>
      </pc:sldChg>
    </pc:docChg>
  </pc:docChgLst>
  <pc:docChgLst>
    <pc:chgData name="Thiebaut, Laurent (Nokia - FR/Paris-Saclay)" userId="5a0f83ef-4330-4e17-8828-eca8fc03b257" providerId="ADAL" clId="{082AE32D-9678-43A3-AFF3-9660FBC80C28}"/>
    <pc:docChg chg="undo redo custSel addSld modSld sldOrd">
      <pc:chgData name="Thiebaut, Laurent (Nokia - FR/Paris-Saclay)" userId="5a0f83ef-4330-4e17-8828-eca8fc03b257" providerId="ADAL" clId="{082AE32D-9678-43A3-AFF3-9660FBC80C28}" dt="2022-03-07T11:05:06.702" v="240" actId="27636"/>
      <pc:docMkLst>
        <pc:docMk/>
      </pc:docMkLst>
      <pc:sldChg chg="modSp mod">
        <pc:chgData name="Thiebaut, Laurent (Nokia - FR/Paris-Saclay)" userId="5a0f83ef-4330-4e17-8828-eca8fc03b257" providerId="ADAL" clId="{082AE32D-9678-43A3-AFF3-9660FBC80C28}" dt="2022-03-06T17:25:56.650" v="16" actId="20577"/>
        <pc:sldMkLst>
          <pc:docMk/>
          <pc:sldMk cId="2165169509" sldId="258"/>
        </pc:sldMkLst>
        <pc:spChg chg="mod">
          <ac:chgData name="Thiebaut, Laurent (Nokia - FR/Paris-Saclay)" userId="5a0f83ef-4330-4e17-8828-eca8fc03b257" providerId="ADAL" clId="{082AE32D-9678-43A3-AFF3-9660FBC80C28}" dt="2022-03-06T17:25:56.650" v="16" actId="20577"/>
          <ac:spMkLst>
            <pc:docMk/>
            <pc:sldMk cId="2165169509" sldId="258"/>
            <ac:spMk id="3" creationId="{A4E748F3-52F3-4227-86AD-9C50826A6263}"/>
          </ac:spMkLst>
        </pc:spChg>
      </pc:sldChg>
      <pc:sldChg chg="modSp mod">
        <pc:chgData name="Thiebaut, Laurent (Nokia - FR/Paris-Saclay)" userId="5a0f83ef-4330-4e17-8828-eca8fc03b257" providerId="ADAL" clId="{082AE32D-9678-43A3-AFF3-9660FBC80C28}" dt="2022-03-07T11:02:15.081" v="239" actId="20577"/>
        <pc:sldMkLst>
          <pc:docMk/>
          <pc:sldMk cId="2416036818" sldId="338"/>
        </pc:sldMkLst>
        <pc:spChg chg="mod">
          <ac:chgData name="Thiebaut, Laurent (Nokia - FR/Paris-Saclay)" userId="5a0f83ef-4330-4e17-8828-eca8fc03b257" providerId="ADAL" clId="{082AE32D-9678-43A3-AFF3-9660FBC80C28}" dt="2022-03-07T11:02:15.081" v="239" actId="20577"/>
          <ac:spMkLst>
            <pc:docMk/>
            <pc:sldMk cId="2416036818" sldId="338"/>
            <ac:spMk id="5" creationId="{0A813F0E-7224-42E6-A359-B5A9B05FEE7A}"/>
          </ac:spMkLst>
        </pc:spChg>
      </pc:sldChg>
      <pc:sldChg chg="add">
        <pc:chgData name="Thiebaut, Laurent (Nokia - FR/Paris-Saclay)" userId="5a0f83ef-4330-4e17-8828-eca8fc03b257" providerId="ADAL" clId="{082AE32D-9678-43A3-AFF3-9660FBC80C28}" dt="2022-03-07T10:58:33.191" v="181"/>
        <pc:sldMkLst>
          <pc:docMk/>
          <pc:sldMk cId="2152723967" sldId="1099"/>
        </pc:sldMkLst>
      </pc:sldChg>
      <pc:sldChg chg="ord">
        <pc:chgData name="Thiebaut, Laurent (Nokia - FR/Paris-Saclay)" userId="5a0f83ef-4330-4e17-8828-eca8fc03b257" providerId="ADAL" clId="{082AE32D-9678-43A3-AFF3-9660FBC80C28}" dt="2022-03-07T10:49:50.153" v="163"/>
        <pc:sldMkLst>
          <pc:docMk/>
          <pc:sldMk cId="3189624576" sldId="2134805455"/>
        </pc:sldMkLst>
      </pc:sldChg>
      <pc:sldChg chg="ord">
        <pc:chgData name="Thiebaut, Laurent (Nokia - FR/Paris-Saclay)" userId="5a0f83ef-4330-4e17-8828-eca8fc03b257" providerId="ADAL" clId="{082AE32D-9678-43A3-AFF3-9660FBC80C28}" dt="2022-03-07T10:49:50.153" v="163"/>
        <pc:sldMkLst>
          <pc:docMk/>
          <pc:sldMk cId="739015424" sldId="2134805526"/>
        </pc:sldMkLst>
      </pc:sldChg>
      <pc:sldChg chg="modSp mod">
        <pc:chgData name="Thiebaut, Laurent (Nokia - FR/Paris-Saclay)" userId="5a0f83ef-4330-4e17-8828-eca8fc03b257" providerId="ADAL" clId="{082AE32D-9678-43A3-AFF3-9660FBC80C28}" dt="2022-03-07T10:55:19.194" v="176" actId="1076"/>
        <pc:sldMkLst>
          <pc:docMk/>
          <pc:sldMk cId="908993029" sldId="2134805527"/>
        </pc:sldMkLst>
        <pc:cxnChg chg="mod">
          <ac:chgData name="Thiebaut, Laurent (Nokia - FR/Paris-Saclay)" userId="5a0f83ef-4330-4e17-8828-eca8fc03b257" providerId="ADAL" clId="{082AE32D-9678-43A3-AFF3-9660FBC80C28}" dt="2022-03-07T10:55:04.611" v="175" actId="1076"/>
          <ac:cxnSpMkLst>
            <pc:docMk/>
            <pc:sldMk cId="908993029" sldId="2134805527"/>
            <ac:cxnSpMk id="8" creationId="{31E383A0-3AB9-455E-8BC1-87201B8E64E5}"/>
          </ac:cxnSpMkLst>
        </pc:cxnChg>
        <pc:cxnChg chg="mod">
          <ac:chgData name="Thiebaut, Laurent (Nokia - FR/Paris-Saclay)" userId="5a0f83ef-4330-4e17-8828-eca8fc03b257" providerId="ADAL" clId="{082AE32D-9678-43A3-AFF3-9660FBC80C28}" dt="2022-03-07T10:55:19.194" v="176" actId="1076"/>
          <ac:cxnSpMkLst>
            <pc:docMk/>
            <pc:sldMk cId="908993029" sldId="2134805527"/>
            <ac:cxnSpMk id="72" creationId="{34AF5814-FECB-4812-8D02-06EFB15F192E}"/>
          </ac:cxnSpMkLst>
        </pc:cxnChg>
      </pc:sldChg>
      <pc:sldChg chg="modSp mod">
        <pc:chgData name="Thiebaut, Laurent (Nokia - FR/Paris-Saclay)" userId="5a0f83ef-4330-4e17-8828-eca8fc03b257" providerId="ADAL" clId="{082AE32D-9678-43A3-AFF3-9660FBC80C28}" dt="2022-03-06T17:54:42.864" v="109" actId="20577"/>
        <pc:sldMkLst>
          <pc:docMk/>
          <pc:sldMk cId="374592939" sldId="2134805583"/>
        </pc:sldMkLst>
        <pc:spChg chg="mod">
          <ac:chgData name="Thiebaut, Laurent (Nokia - FR/Paris-Saclay)" userId="5a0f83ef-4330-4e17-8828-eca8fc03b257" providerId="ADAL" clId="{082AE32D-9678-43A3-AFF3-9660FBC80C28}" dt="2022-03-06T17:54:42.864" v="109" actId="20577"/>
          <ac:spMkLst>
            <pc:docMk/>
            <pc:sldMk cId="374592939" sldId="2134805583"/>
            <ac:spMk id="4" creationId="{CD72C33D-DF40-4601-AF02-8DFD5A6EA958}"/>
          </ac:spMkLst>
        </pc:spChg>
      </pc:sldChg>
      <pc:sldChg chg="modSp mod">
        <pc:chgData name="Thiebaut, Laurent (Nokia - FR/Paris-Saclay)" userId="5a0f83ef-4330-4e17-8828-eca8fc03b257" providerId="ADAL" clId="{082AE32D-9678-43A3-AFF3-9660FBC80C28}" dt="2022-03-06T17:54:16.325" v="101" actId="404"/>
        <pc:sldMkLst>
          <pc:docMk/>
          <pc:sldMk cId="2969031349" sldId="2134805584"/>
        </pc:sldMkLst>
        <pc:spChg chg="mod">
          <ac:chgData name="Thiebaut, Laurent (Nokia - FR/Paris-Saclay)" userId="5a0f83ef-4330-4e17-8828-eca8fc03b257" providerId="ADAL" clId="{082AE32D-9678-43A3-AFF3-9660FBC80C28}" dt="2022-03-06T17:27:18.870" v="17"/>
          <ac:spMkLst>
            <pc:docMk/>
            <pc:sldMk cId="2969031349" sldId="2134805584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082AE32D-9678-43A3-AFF3-9660FBC80C28}" dt="2022-03-06T17:27:24.450" v="18" actId="6549"/>
          <ac:spMkLst>
            <pc:docMk/>
            <pc:sldMk cId="2969031349" sldId="2134805584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082AE32D-9678-43A3-AFF3-9660FBC80C28}" dt="2022-03-06T17:54:16.325" v="101" actId="404"/>
          <ac:spMkLst>
            <pc:docMk/>
            <pc:sldMk cId="2969031349" sldId="2134805584"/>
            <ac:spMk id="4" creationId="{CD72C33D-DF40-4601-AF02-8DFD5A6EA958}"/>
          </ac:spMkLst>
        </pc:spChg>
      </pc:sldChg>
      <pc:sldChg chg="ord">
        <pc:chgData name="Thiebaut, Laurent (Nokia - FR/Paris-Saclay)" userId="5a0f83ef-4330-4e17-8828-eca8fc03b257" providerId="ADAL" clId="{082AE32D-9678-43A3-AFF3-9660FBC80C28}" dt="2022-03-07T10:50:15.281" v="165"/>
        <pc:sldMkLst>
          <pc:docMk/>
          <pc:sldMk cId="2133542744" sldId="2134805585"/>
        </pc:sldMkLst>
      </pc:sldChg>
      <pc:sldChg chg="modSp mod ord">
        <pc:chgData name="Thiebaut, Laurent (Nokia - FR/Paris-Saclay)" userId="5a0f83ef-4330-4e17-8828-eca8fc03b257" providerId="ADAL" clId="{082AE32D-9678-43A3-AFF3-9660FBC80C28}" dt="2022-03-06T17:56:25.167" v="113" actId="20577"/>
        <pc:sldMkLst>
          <pc:docMk/>
          <pc:sldMk cId="681358297" sldId="2134805587"/>
        </pc:sldMkLst>
        <pc:spChg chg="mod">
          <ac:chgData name="Thiebaut, Laurent (Nokia - FR/Paris-Saclay)" userId="5a0f83ef-4330-4e17-8828-eca8fc03b257" providerId="ADAL" clId="{082AE32D-9678-43A3-AFF3-9660FBC80C28}" dt="2022-03-06T17:51:54.862" v="87"/>
          <ac:spMkLst>
            <pc:docMk/>
            <pc:sldMk cId="681358297" sldId="2134805587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082AE32D-9678-43A3-AFF3-9660FBC80C28}" dt="2022-03-06T17:51:58.086" v="88" actId="6549"/>
          <ac:spMkLst>
            <pc:docMk/>
            <pc:sldMk cId="681358297" sldId="2134805587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082AE32D-9678-43A3-AFF3-9660FBC80C28}" dt="2022-03-06T17:56:25.167" v="113" actId="20577"/>
          <ac:spMkLst>
            <pc:docMk/>
            <pc:sldMk cId="681358297" sldId="2134805587"/>
            <ac:spMk id="4" creationId="{CD72C33D-DF40-4601-AF02-8DFD5A6EA958}"/>
          </ac:spMkLst>
        </pc:spChg>
      </pc:sldChg>
      <pc:sldChg chg="modSp mod ord">
        <pc:chgData name="Thiebaut, Laurent (Nokia - FR/Paris-Saclay)" userId="5a0f83ef-4330-4e17-8828-eca8fc03b257" providerId="ADAL" clId="{082AE32D-9678-43A3-AFF3-9660FBC80C28}" dt="2022-03-07T10:36:58.240" v="161"/>
        <pc:sldMkLst>
          <pc:docMk/>
          <pc:sldMk cId="1148163688" sldId="2134805589"/>
        </pc:sldMkLst>
        <pc:spChg chg="mod">
          <ac:chgData name="Thiebaut, Laurent (Nokia - FR/Paris-Saclay)" userId="5a0f83ef-4330-4e17-8828-eca8fc03b257" providerId="ADAL" clId="{082AE32D-9678-43A3-AFF3-9660FBC80C28}" dt="2022-03-06T18:05:04.787" v="154" actId="6549"/>
          <ac:spMkLst>
            <pc:docMk/>
            <pc:sldMk cId="1148163688" sldId="2134805589"/>
            <ac:spMk id="3" creationId="{506A8607-C5AE-48A7-9AC8-7B6F426DD14D}"/>
          </ac:spMkLst>
        </pc:spChg>
      </pc:sldChg>
      <pc:sldChg chg="modSp mod ord">
        <pc:chgData name="Thiebaut, Laurent (Nokia - FR/Paris-Saclay)" userId="5a0f83ef-4330-4e17-8828-eca8fc03b257" providerId="ADAL" clId="{082AE32D-9678-43A3-AFF3-9660FBC80C28}" dt="2022-03-07T10:36:09.093" v="157"/>
        <pc:sldMkLst>
          <pc:docMk/>
          <pc:sldMk cId="3917494353" sldId="2134805594"/>
        </pc:sldMkLst>
        <pc:spChg chg="mod">
          <ac:chgData name="Thiebaut, Laurent (Nokia - FR/Paris-Saclay)" userId="5a0f83ef-4330-4e17-8828-eca8fc03b257" providerId="ADAL" clId="{082AE32D-9678-43A3-AFF3-9660FBC80C28}" dt="2022-03-06T18:05:10.661" v="155" actId="6549"/>
          <ac:spMkLst>
            <pc:docMk/>
            <pc:sldMk cId="3917494353" sldId="2134805594"/>
            <ac:spMk id="3" creationId="{506A8607-C5AE-48A7-9AC8-7B6F426DD14D}"/>
          </ac:spMkLst>
        </pc:spChg>
      </pc:sldChg>
      <pc:sldChg chg="ord">
        <pc:chgData name="Thiebaut, Laurent (Nokia - FR/Paris-Saclay)" userId="5a0f83ef-4330-4e17-8828-eca8fc03b257" providerId="ADAL" clId="{082AE32D-9678-43A3-AFF3-9660FBC80C28}" dt="2022-03-07T10:36:09.093" v="157"/>
        <pc:sldMkLst>
          <pc:docMk/>
          <pc:sldMk cId="3007859491" sldId="2134805595"/>
        </pc:sldMkLst>
      </pc:sldChg>
      <pc:sldChg chg="modSp mod">
        <pc:chgData name="Thiebaut, Laurent (Nokia - FR/Paris-Saclay)" userId="5a0f83ef-4330-4e17-8828-eca8fc03b257" providerId="ADAL" clId="{082AE32D-9678-43A3-AFF3-9660FBC80C28}" dt="2022-03-07T10:50:40.341" v="174" actId="6549"/>
        <pc:sldMkLst>
          <pc:docMk/>
          <pc:sldMk cId="493333457" sldId="2134805598"/>
        </pc:sldMkLst>
        <pc:spChg chg="mod">
          <ac:chgData name="Thiebaut, Laurent (Nokia - FR/Paris-Saclay)" userId="5a0f83ef-4330-4e17-8828-eca8fc03b257" providerId="ADAL" clId="{082AE32D-9678-43A3-AFF3-9660FBC80C28}" dt="2022-03-07T10:50:40.341" v="174" actId="6549"/>
          <ac:spMkLst>
            <pc:docMk/>
            <pc:sldMk cId="493333457" sldId="2134805598"/>
            <ac:spMk id="4" creationId="{B91515A7-343D-47E8-82B8-D58ED83CD3B1}"/>
          </ac:spMkLst>
        </pc:spChg>
      </pc:sldChg>
      <pc:sldChg chg="modSp mod ord">
        <pc:chgData name="Thiebaut, Laurent (Nokia - FR/Paris-Saclay)" userId="5a0f83ef-4330-4e17-8828-eca8fc03b257" providerId="ADAL" clId="{082AE32D-9678-43A3-AFF3-9660FBC80C28}" dt="2022-03-07T10:50:24.510" v="172" actId="20577"/>
        <pc:sldMkLst>
          <pc:docMk/>
          <pc:sldMk cId="2867476052" sldId="2134805603"/>
        </pc:sldMkLst>
        <pc:spChg chg="mod">
          <ac:chgData name="Thiebaut, Laurent (Nokia - FR/Paris-Saclay)" userId="5a0f83ef-4330-4e17-8828-eca8fc03b257" providerId="ADAL" clId="{082AE32D-9678-43A3-AFF3-9660FBC80C28}" dt="2022-03-07T10:50:24.510" v="172" actId="20577"/>
          <ac:spMkLst>
            <pc:docMk/>
            <pc:sldMk cId="2867476052" sldId="2134805603"/>
            <ac:spMk id="4" creationId="{B91515A7-343D-47E8-82B8-D58ED83CD3B1}"/>
          </ac:spMkLst>
        </pc:spChg>
      </pc:sldChg>
      <pc:sldChg chg="ord">
        <pc:chgData name="Thiebaut, Laurent (Nokia - FR/Paris-Saclay)" userId="5a0f83ef-4330-4e17-8828-eca8fc03b257" providerId="ADAL" clId="{082AE32D-9678-43A3-AFF3-9660FBC80C28}" dt="2022-03-07T10:36:09.093" v="157"/>
        <pc:sldMkLst>
          <pc:docMk/>
          <pc:sldMk cId="2341997767" sldId="2134805605"/>
        </pc:sldMkLst>
      </pc:sldChg>
      <pc:sldChg chg="ord">
        <pc:chgData name="Thiebaut, Laurent (Nokia - FR/Paris-Saclay)" userId="5a0f83ef-4330-4e17-8828-eca8fc03b257" providerId="ADAL" clId="{082AE32D-9678-43A3-AFF3-9660FBC80C28}" dt="2022-03-07T10:49:50.153" v="163"/>
        <pc:sldMkLst>
          <pc:docMk/>
          <pc:sldMk cId="417983849" sldId="2134805606"/>
        </pc:sldMkLst>
      </pc:sldChg>
      <pc:sldChg chg="ord">
        <pc:chgData name="Thiebaut, Laurent (Nokia - FR/Paris-Saclay)" userId="5a0f83ef-4330-4e17-8828-eca8fc03b257" providerId="ADAL" clId="{082AE32D-9678-43A3-AFF3-9660FBC80C28}" dt="2022-03-07T10:36:26.151" v="159"/>
        <pc:sldMkLst>
          <pc:docMk/>
          <pc:sldMk cId="2394135302" sldId="2134805613"/>
        </pc:sldMkLst>
      </pc:sldChg>
      <pc:sldChg chg="ord">
        <pc:chgData name="Thiebaut, Laurent (Nokia - FR/Paris-Saclay)" userId="5a0f83ef-4330-4e17-8828-eca8fc03b257" providerId="ADAL" clId="{082AE32D-9678-43A3-AFF3-9660FBC80C28}" dt="2022-03-07T10:36:26.151" v="159"/>
        <pc:sldMkLst>
          <pc:docMk/>
          <pc:sldMk cId="1806586001" sldId="2134805614"/>
        </pc:sldMkLst>
      </pc:sldChg>
      <pc:sldChg chg="ord">
        <pc:chgData name="Thiebaut, Laurent (Nokia - FR/Paris-Saclay)" userId="5a0f83ef-4330-4e17-8828-eca8fc03b257" providerId="ADAL" clId="{082AE32D-9678-43A3-AFF3-9660FBC80C28}" dt="2022-03-07T10:36:26.151" v="159"/>
        <pc:sldMkLst>
          <pc:docMk/>
          <pc:sldMk cId="4258466691" sldId="2134805615"/>
        </pc:sldMkLst>
      </pc:sldChg>
      <pc:sldChg chg="ord">
        <pc:chgData name="Thiebaut, Laurent (Nokia - FR/Paris-Saclay)" userId="5a0f83ef-4330-4e17-8828-eca8fc03b257" providerId="ADAL" clId="{082AE32D-9678-43A3-AFF3-9660FBC80C28}" dt="2022-03-07T10:36:26.151" v="159"/>
        <pc:sldMkLst>
          <pc:docMk/>
          <pc:sldMk cId="2186302939" sldId="2134805616"/>
        </pc:sldMkLst>
      </pc:sldChg>
      <pc:sldChg chg="ord">
        <pc:chgData name="Thiebaut, Laurent (Nokia - FR/Paris-Saclay)" userId="5a0f83ef-4330-4e17-8828-eca8fc03b257" providerId="ADAL" clId="{082AE32D-9678-43A3-AFF3-9660FBC80C28}" dt="2022-03-07T10:36:26.151" v="159"/>
        <pc:sldMkLst>
          <pc:docMk/>
          <pc:sldMk cId="2009724111" sldId="2134805617"/>
        </pc:sldMkLst>
      </pc:sldChg>
      <pc:sldChg chg="ord">
        <pc:chgData name="Thiebaut, Laurent (Nokia - FR/Paris-Saclay)" userId="5a0f83ef-4330-4e17-8828-eca8fc03b257" providerId="ADAL" clId="{082AE32D-9678-43A3-AFF3-9660FBC80C28}" dt="2022-03-07T10:36:26.151" v="159"/>
        <pc:sldMkLst>
          <pc:docMk/>
          <pc:sldMk cId="3974589309" sldId="2134805618"/>
        </pc:sldMkLst>
      </pc:sldChg>
      <pc:sldChg chg="ord">
        <pc:chgData name="Thiebaut, Laurent (Nokia - FR/Paris-Saclay)" userId="5a0f83ef-4330-4e17-8828-eca8fc03b257" providerId="ADAL" clId="{082AE32D-9678-43A3-AFF3-9660FBC80C28}" dt="2022-03-07T10:36:26.151" v="159"/>
        <pc:sldMkLst>
          <pc:docMk/>
          <pc:sldMk cId="1862887054" sldId="2134805619"/>
        </pc:sldMkLst>
      </pc:sldChg>
      <pc:sldChg chg="ord">
        <pc:chgData name="Thiebaut, Laurent (Nokia - FR/Paris-Saclay)" userId="5a0f83ef-4330-4e17-8828-eca8fc03b257" providerId="ADAL" clId="{082AE32D-9678-43A3-AFF3-9660FBC80C28}" dt="2022-03-07T10:36:26.151" v="159"/>
        <pc:sldMkLst>
          <pc:docMk/>
          <pc:sldMk cId="3800510262" sldId="2134805620"/>
        </pc:sldMkLst>
      </pc:sldChg>
      <pc:sldChg chg="ord">
        <pc:chgData name="Thiebaut, Laurent (Nokia - FR/Paris-Saclay)" userId="5a0f83ef-4330-4e17-8828-eca8fc03b257" providerId="ADAL" clId="{082AE32D-9678-43A3-AFF3-9660FBC80C28}" dt="2022-03-07T10:36:09.093" v="157"/>
        <pc:sldMkLst>
          <pc:docMk/>
          <pc:sldMk cId="476435417" sldId="2146846798"/>
        </pc:sldMkLst>
      </pc:sldChg>
      <pc:sldChg chg="ord">
        <pc:chgData name="Thiebaut, Laurent (Nokia - FR/Paris-Saclay)" userId="5a0f83ef-4330-4e17-8828-eca8fc03b257" providerId="ADAL" clId="{082AE32D-9678-43A3-AFF3-9660FBC80C28}" dt="2022-03-07T10:49:50.153" v="163"/>
        <pc:sldMkLst>
          <pc:docMk/>
          <pc:sldMk cId="2008317962" sldId="2146846804"/>
        </pc:sldMkLst>
      </pc:sldChg>
      <pc:sldChg chg="modSp add mod">
        <pc:chgData name="Thiebaut, Laurent (Nokia - FR/Paris-Saclay)" userId="5a0f83ef-4330-4e17-8828-eca8fc03b257" providerId="ADAL" clId="{082AE32D-9678-43A3-AFF3-9660FBC80C28}" dt="2022-03-06T18:04:07.385" v="153" actId="20577"/>
        <pc:sldMkLst>
          <pc:docMk/>
          <pc:sldMk cId="494238848" sldId="2146846814"/>
        </pc:sldMkLst>
        <pc:spChg chg="mod">
          <ac:chgData name="Thiebaut, Laurent (Nokia - FR/Paris-Saclay)" userId="5a0f83ef-4330-4e17-8828-eca8fc03b257" providerId="ADAL" clId="{082AE32D-9678-43A3-AFF3-9660FBC80C28}" dt="2022-03-06T17:59:42.900" v="117"/>
          <ac:spMkLst>
            <pc:docMk/>
            <pc:sldMk cId="494238848" sldId="2146846814"/>
            <ac:spMk id="2" creationId="{F55F6DD9-9F73-4475-B4C0-0BD35C69E49D}"/>
          </ac:spMkLst>
        </pc:spChg>
        <pc:spChg chg="mod">
          <ac:chgData name="Thiebaut, Laurent (Nokia - FR/Paris-Saclay)" userId="5a0f83ef-4330-4e17-8828-eca8fc03b257" providerId="ADAL" clId="{082AE32D-9678-43A3-AFF3-9660FBC80C28}" dt="2022-03-06T17:59:58.942" v="147" actId="20577"/>
          <ac:spMkLst>
            <pc:docMk/>
            <pc:sldMk cId="494238848" sldId="2146846814"/>
            <ac:spMk id="3" creationId="{506A8607-C5AE-48A7-9AC8-7B6F426DD14D}"/>
          </ac:spMkLst>
        </pc:spChg>
        <pc:spChg chg="mod">
          <ac:chgData name="Thiebaut, Laurent (Nokia - FR/Paris-Saclay)" userId="5a0f83ef-4330-4e17-8828-eca8fc03b257" providerId="ADAL" clId="{082AE32D-9678-43A3-AFF3-9660FBC80C28}" dt="2022-03-06T18:00:14.419" v="149" actId="255"/>
          <ac:spMkLst>
            <pc:docMk/>
            <pc:sldMk cId="494238848" sldId="2146846814"/>
            <ac:spMk id="4" creationId="{CD72C33D-DF40-4601-AF02-8DFD5A6EA958}"/>
          </ac:spMkLst>
        </pc:spChg>
        <pc:graphicFrameChg chg="modGraphic">
          <ac:chgData name="Thiebaut, Laurent (Nokia - FR/Paris-Saclay)" userId="5a0f83ef-4330-4e17-8828-eca8fc03b257" providerId="ADAL" clId="{082AE32D-9678-43A3-AFF3-9660FBC80C28}" dt="2022-03-06T18:04:07.385" v="153" actId="20577"/>
          <ac:graphicFrameMkLst>
            <pc:docMk/>
            <pc:sldMk cId="494238848" sldId="2146846814"/>
            <ac:graphicFrameMk id="5" creationId="{C8BBFCFC-A916-4DFF-91B3-3D3FB6D6A8D0}"/>
          </ac:graphicFrameMkLst>
        </pc:graphicFrameChg>
      </pc:sldChg>
      <pc:sldChg chg="modSp mod">
        <pc:chgData name="Thiebaut, Laurent (Nokia - FR/Paris-Saclay)" userId="5a0f83ef-4330-4e17-8828-eca8fc03b257" providerId="ADAL" clId="{082AE32D-9678-43A3-AFF3-9660FBC80C28}" dt="2022-03-07T11:05:06.702" v="240" actId="27636"/>
        <pc:sldMkLst>
          <pc:docMk/>
          <pc:sldMk cId="477553370" sldId="2146846815"/>
        </pc:sldMkLst>
        <pc:spChg chg="mod">
          <ac:chgData name="Thiebaut, Laurent (Nokia - FR/Paris-Saclay)" userId="5a0f83ef-4330-4e17-8828-eca8fc03b257" providerId="ADAL" clId="{082AE32D-9678-43A3-AFF3-9660FBC80C28}" dt="2022-03-07T11:05:06.702" v="240" actId="27636"/>
          <ac:spMkLst>
            <pc:docMk/>
            <pc:sldMk cId="477553370" sldId="2146846815"/>
            <ac:spMk id="4" creationId="{CD72C33D-DF40-4601-AF02-8DFD5A6EA958}"/>
          </ac:spMkLst>
        </pc:spChg>
      </pc:sldChg>
    </pc:docChg>
  </pc:docChgLst>
  <pc:docChgLst>
    <pc:chgData name="Singh, Shubhranshu (Nokia - DE/Munich)" userId="097f1207-65ae-4ec2-ab78-00d0c1d73a58" providerId="ADAL" clId="{F749CD33-9534-4497-A3D1-69EA196341C0}"/>
    <pc:docChg chg="addSld modSld">
      <pc:chgData name="Singh, Shubhranshu (Nokia - DE/Munich)" userId="097f1207-65ae-4ec2-ab78-00d0c1d73a58" providerId="ADAL" clId="{F749CD33-9534-4497-A3D1-69EA196341C0}" dt="2022-03-06T21:24:52.316" v="56" actId="20577"/>
      <pc:docMkLst>
        <pc:docMk/>
      </pc:docMkLst>
      <pc:sldChg chg="modSp mod">
        <pc:chgData name="Singh, Shubhranshu (Nokia - DE/Munich)" userId="097f1207-65ae-4ec2-ab78-00d0c1d73a58" providerId="ADAL" clId="{F749CD33-9534-4497-A3D1-69EA196341C0}" dt="2022-03-06T21:19:44.330" v="16" actId="20577"/>
        <pc:sldMkLst>
          <pc:docMk/>
          <pc:sldMk cId="4008632245" sldId="2134805565"/>
        </pc:sldMkLst>
        <pc:spChg chg="mod">
          <ac:chgData name="Singh, Shubhranshu (Nokia - DE/Munich)" userId="097f1207-65ae-4ec2-ab78-00d0c1d73a58" providerId="ADAL" clId="{F749CD33-9534-4497-A3D1-69EA196341C0}" dt="2022-03-06T21:19:44.330" v="16" actId="20577"/>
          <ac:spMkLst>
            <pc:docMk/>
            <pc:sldMk cId="4008632245" sldId="2134805565"/>
            <ac:spMk id="4" creationId="{CD72C33D-DF40-4601-AF02-8DFD5A6EA958}"/>
          </ac:spMkLst>
        </pc:spChg>
      </pc:sldChg>
      <pc:sldChg chg="modSp add mod">
        <pc:chgData name="Singh, Shubhranshu (Nokia - DE/Munich)" userId="097f1207-65ae-4ec2-ab78-00d0c1d73a58" providerId="ADAL" clId="{F749CD33-9534-4497-A3D1-69EA196341C0}" dt="2022-03-06T21:24:41.824" v="54" actId="20577"/>
        <pc:sldMkLst>
          <pc:docMk/>
          <pc:sldMk cId="477553370" sldId="2146846815"/>
        </pc:sldMkLst>
        <pc:spChg chg="mod">
          <ac:chgData name="Singh, Shubhranshu (Nokia - DE/Munich)" userId="097f1207-65ae-4ec2-ab78-00d0c1d73a58" providerId="ADAL" clId="{F749CD33-9534-4497-A3D1-69EA196341C0}" dt="2022-03-06T21:21:18.922" v="18" actId="108"/>
          <ac:spMkLst>
            <pc:docMk/>
            <pc:sldMk cId="477553370" sldId="2146846815"/>
            <ac:spMk id="3" creationId="{506A8607-C5AE-48A7-9AC8-7B6F426DD14D}"/>
          </ac:spMkLst>
        </pc:spChg>
        <pc:spChg chg="mod">
          <ac:chgData name="Singh, Shubhranshu (Nokia - DE/Munich)" userId="097f1207-65ae-4ec2-ab78-00d0c1d73a58" providerId="ADAL" clId="{F749CD33-9534-4497-A3D1-69EA196341C0}" dt="2022-03-06T21:24:41.824" v="54" actId="20577"/>
          <ac:spMkLst>
            <pc:docMk/>
            <pc:sldMk cId="477553370" sldId="2146846815"/>
            <ac:spMk id="4" creationId="{CD72C33D-DF40-4601-AF02-8DFD5A6EA958}"/>
          </ac:spMkLst>
        </pc:spChg>
      </pc:sldChg>
      <pc:sldChg chg="modSp add mod">
        <pc:chgData name="Singh, Shubhranshu (Nokia - DE/Munich)" userId="097f1207-65ae-4ec2-ab78-00d0c1d73a58" providerId="ADAL" clId="{F749CD33-9534-4497-A3D1-69EA196341C0}" dt="2022-03-06T21:24:52.316" v="56" actId="20577"/>
        <pc:sldMkLst>
          <pc:docMk/>
          <pc:sldMk cId="2280338077" sldId="2146846816"/>
        </pc:sldMkLst>
        <pc:spChg chg="mod">
          <ac:chgData name="Singh, Shubhranshu (Nokia - DE/Munich)" userId="097f1207-65ae-4ec2-ab78-00d0c1d73a58" providerId="ADAL" clId="{F749CD33-9534-4497-A3D1-69EA196341C0}" dt="2022-03-06T21:24:52.316" v="56" actId="20577"/>
          <ac:spMkLst>
            <pc:docMk/>
            <pc:sldMk cId="2280338077" sldId="2146846816"/>
            <ac:spMk id="4" creationId="{CD72C33D-DF40-4601-AF02-8DFD5A6EA958}"/>
          </ac:spMkLst>
        </pc:spChg>
      </pc:sldChg>
    </pc:docChg>
  </pc:docChgLst>
  <pc:docChgLst>
    <pc:chgData name="Gupta, Pallab (Nokia - IN/Bangalore)" userId="2373e1e1-8f73-46a5-bf2c-89beccfccabe" providerId="ADAL" clId="{3D50DDBE-E3D6-4D50-A174-2FB6AFDF36D7}"/>
    <pc:docChg chg="modSld">
      <pc:chgData name="Gupta, Pallab (Nokia - IN/Bangalore)" userId="2373e1e1-8f73-46a5-bf2c-89beccfccabe" providerId="ADAL" clId="{3D50DDBE-E3D6-4D50-A174-2FB6AFDF36D7}" dt="2022-03-07T11:51:00.681" v="5" actId="2711"/>
      <pc:docMkLst>
        <pc:docMk/>
      </pc:docMkLst>
      <pc:sldChg chg="modSp mod">
        <pc:chgData name="Gupta, Pallab (Nokia - IN/Bangalore)" userId="2373e1e1-8f73-46a5-bf2c-89beccfccabe" providerId="ADAL" clId="{3D50DDBE-E3D6-4D50-A174-2FB6AFDF36D7}" dt="2022-03-07T11:50:49.278" v="3" actId="2711"/>
        <pc:sldMkLst>
          <pc:docMk/>
          <pc:sldMk cId="1432919690" sldId="2134805576"/>
        </pc:sldMkLst>
        <pc:spChg chg="mod">
          <ac:chgData name="Gupta, Pallab (Nokia - IN/Bangalore)" userId="2373e1e1-8f73-46a5-bf2c-89beccfccabe" providerId="ADAL" clId="{3D50DDBE-E3D6-4D50-A174-2FB6AFDF36D7}" dt="2022-03-07T11:50:49.278" v="3" actId="2711"/>
          <ac:spMkLst>
            <pc:docMk/>
            <pc:sldMk cId="1432919690" sldId="2134805576"/>
            <ac:spMk id="8" creationId="{A6FE9473-D619-44D5-90D9-CA33713ECD23}"/>
          </ac:spMkLst>
        </pc:spChg>
      </pc:sldChg>
      <pc:sldChg chg="modSp mod">
        <pc:chgData name="Gupta, Pallab (Nokia - IN/Bangalore)" userId="2373e1e1-8f73-46a5-bf2c-89beccfccabe" providerId="ADAL" clId="{3D50DDBE-E3D6-4D50-A174-2FB6AFDF36D7}" dt="2022-03-07T11:50:54.204" v="4" actId="2711"/>
        <pc:sldMkLst>
          <pc:docMk/>
          <pc:sldMk cId="2662172997" sldId="2134805578"/>
        </pc:sldMkLst>
        <pc:spChg chg="mod">
          <ac:chgData name="Gupta, Pallab (Nokia - IN/Bangalore)" userId="2373e1e1-8f73-46a5-bf2c-89beccfccabe" providerId="ADAL" clId="{3D50DDBE-E3D6-4D50-A174-2FB6AFDF36D7}" dt="2022-03-07T11:50:54.204" v="4" actId="2711"/>
          <ac:spMkLst>
            <pc:docMk/>
            <pc:sldMk cId="2662172997" sldId="2134805578"/>
            <ac:spMk id="8" creationId="{A6FE9473-D619-44D5-90D9-CA33713ECD23}"/>
          </ac:spMkLst>
        </pc:spChg>
      </pc:sldChg>
      <pc:sldChg chg="modSp mod">
        <pc:chgData name="Gupta, Pallab (Nokia - IN/Bangalore)" userId="2373e1e1-8f73-46a5-bf2c-89beccfccabe" providerId="ADAL" clId="{3D50DDBE-E3D6-4D50-A174-2FB6AFDF36D7}" dt="2022-03-07T11:50:43.380" v="2" actId="2711"/>
        <pc:sldMkLst>
          <pc:docMk/>
          <pc:sldMk cId="1950938178" sldId="2146846800"/>
        </pc:sldMkLst>
        <pc:spChg chg="mod">
          <ac:chgData name="Gupta, Pallab (Nokia - IN/Bangalore)" userId="2373e1e1-8f73-46a5-bf2c-89beccfccabe" providerId="ADAL" clId="{3D50DDBE-E3D6-4D50-A174-2FB6AFDF36D7}" dt="2022-03-07T11:50:43.380" v="2" actId="2711"/>
          <ac:spMkLst>
            <pc:docMk/>
            <pc:sldMk cId="1950938178" sldId="2146846800"/>
            <ac:spMk id="8" creationId="{A6FE9473-D619-44D5-90D9-CA33713ECD23}"/>
          </ac:spMkLst>
        </pc:spChg>
      </pc:sldChg>
      <pc:sldChg chg="modSp mod">
        <pc:chgData name="Gupta, Pallab (Nokia - IN/Bangalore)" userId="2373e1e1-8f73-46a5-bf2c-89beccfccabe" providerId="ADAL" clId="{3D50DDBE-E3D6-4D50-A174-2FB6AFDF36D7}" dt="2022-03-07T11:51:00.681" v="5" actId="2711"/>
        <pc:sldMkLst>
          <pc:docMk/>
          <pc:sldMk cId="248490523" sldId="2146846803"/>
        </pc:sldMkLst>
        <pc:spChg chg="mod">
          <ac:chgData name="Gupta, Pallab (Nokia - IN/Bangalore)" userId="2373e1e1-8f73-46a5-bf2c-89beccfccabe" providerId="ADAL" clId="{3D50DDBE-E3D6-4D50-A174-2FB6AFDF36D7}" dt="2022-03-07T11:51:00.681" v="5" actId="2711"/>
          <ac:spMkLst>
            <pc:docMk/>
            <pc:sldMk cId="248490523" sldId="2146846803"/>
            <ac:spMk id="8" creationId="{A6FE9473-D619-44D5-90D9-CA33713ECD23}"/>
          </ac:spMkLst>
        </pc:spChg>
      </pc:sldChg>
    </pc:docChg>
  </pc:docChgLst>
  <pc:docChgLst>
    <pc:chgData name="Hietalahti, Hannu (Nokia - FI/Oulu)" userId="bcd6d86d-9ffc-4aa1-b5a6-083a51dd89a7" providerId="ADAL" clId="{7E987533-4A11-452C-B47A-052FA9CCAC94}"/>
    <pc:docChg chg="undo custSel addSld delSld modSld">
      <pc:chgData name="Hietalahti, Hannu (Nokia - FI/Oulu)" userId="bcd6d86d-9ffc-4aa1-b5a6-083a51dd89a7" providerId="ADAL" clId="{7E987533-4A11-452C-B47A-052FA9CCAC94}" dt="2022-06-06T12:30:11.225" v="3461" actId="47"/>
      <pc:docMkLst>
        <pc:docMk/>
      </pc:docMkLst>
      <pc:sldChg chg="del">
        <pc:chgData name="Hietalahti, Hannu (Nokia - FI/Oulu)" userId="bcd6d86d-9ffc-4aa1-b5a6-083a51dd89a7" providerId="ADAL" clId="{7E987533-4A11-452C-B47A-052FA9CCAC94}" dt="2022-06-06T12:29:16.821" v="3454" actId="47"/>
        <pc:sldMkLst>
          <pc:docMk/>
          <pc:sldMk cId="4241914170" sldId="2134805571"/>
        </pc:sldMkLst>
      </pc:sldChg>
      <pc:sldChg chg="del">
        <pc:chgData name="Hietalahti, Hannu (Nokia - FI/Oulu)" userId="bcd6d86d-9ffc-4aa1-b5a6-083a51dd89a7" providerId="ADAL" clId="{7E987533-4A11-452C-B47A-052FA9CCAC94}" dt="2022-06-06T12:29:16.821" v="3454" actId="47"/>
        <pc:sldMkLst>
          <pc:docMk/>
          <pc:sldMk cId="2379651012" sldId="2146846788"/>
        </pc:sldMkLst>
      </pc:sldChg>
      <pc:sldChg chg="del">
        <pc:chgData name="Hietalahti, Hannu (Nokia - FI/Oulu)" userId="bcd6d86d-9ffc-4aa1-b5a6-083a51dd89a7" providerId="ADAL" clId="{7E987533-4A11-452C-B47A-052FA9CCAC94}" dt="2022-06-06T12:29:16.821" v="3454" actId="47"/>
        <pc:sldMkLst>
          <pc:docMk/>
          <pc:sldMk cId="1570086599" sldId="2146846789"/>
        </pc:sldMkLst>
      </pc:sldChg>
      <pc:sldChg chg="del">
        <pc:chgData name="Hietalahti, Hannu (Nokia - FI/Oulu)" userId="bcd6d86d-9ffc-4aa1-b5a6-083a51dd89a7" providerId="ADAL" clId="{7E987533-4A11-452C-B47A-052FA9CCAC94}" dt="2022-06-06T12:29:16.821" v="3454" actId="47"/>
        <pc:sldMkLst>
          <pc:docMk/>
          <pc:sldMk cId="2054285720" sldId="2146846792"/>
        </pc:sldMkLst>
      </pc:sldChg>
      <pc:sldChg chg="modSp add del mod">
        <pc:chgData name="Hietalahti, Hannu (Nokia - FI/Oulu)" userId="bcd6d86d-9ffc-4aa1-b5a6-083a51dd89a7" providerId="ADAL" clId="{7E987533-4A11-452C-B47A-052FA9CCAC94}" dt="2022-06-06T12:30:04.169" v="3455" actId="47"/>
        <pc:sldMkLst>
          <pc:docMk/>
          <pc:sldMk cId="1733769322" sldId="2146846830"/>
        </pc:sldMkLst>
        <pc:spChg chg="mod">
          <ac:chgData name="Hietalahti, Hannu (Nokia - FI/Oulu)" userId="bcd6d86d-9ffc-4aa1-b5a6-083a51dd89a7" providerId="ADAL" clId="{7E987533-4A11-452C-B47A-052FA9CCAC94}" dt="2022-06-06T07:22:10.533" v="555" actId="20577"/>
          <ac:spMkLst>
            <pc:docMk/>
            <pc:sldMk cId="1733769322" sldId="2146846830"/>
            <ac:spMk id="4" creationId="{CD72C33D-DF40-4601-AF02-8DFD5A6EA958}"/>
          </ac:spMkLst>
        </pc:spChg>
        <pc:graphicFrameChg chg="mod">
          <ac:chgData name="Hietalahti, Hannu (Nokia - FI/Oulu)" userId="bcd6d86d-9ffc-4aa1-b5a6-083a51dd89a7" providerId="ADAL" clId="{7E987533-4A11-452C-B47A-052FA9CCAC94}" dt="2022-06-06T07:34:59.077" v="1125" actId="1036"/>
          <ac:graphicFrameMkLst>
            <pc:docMk/>
            <pc:sldMk cId="1733769322" sldId="2146846830"/>
            <ac:graphicFrameMk id="5" creationId="{ACB35D8B-CB72-4083-B8D5-44BE58A45729}"/>
          </ac:graphicFrameMkLst>
        </pc:graphicFrameChg>
      </pc:sldChg>
      <pc:sldChg chg="modSp add del mod">
        <pc:chgData name="Hietalahti, Hannu (Nokia - FI/Oulu)" userId="bcd6d86d-9ffc-4aa1-b5a6-083a51dd89a7" providerId="ADAL" clId="{7E987533-4A11-452C-B47A-052FA9CCAC94}" dt="2022-06-06T12:30:05.618" v="3456" actId="47"/>
        <pc:sldMkLst>
          <pc:docMk/>
          <pc:sldMk cId="2404319665" sldId="2146846831"/>
        </pc:sldMkLst>
        <pc:spChg chg="mod">
          <ac:chgData name="Hietalahti, Hannu (Nokia - FI/Oulu)" userId="bcd6d86d-9ffc-4aa1-b5a6-083a51dd89a7" providerId="ADAL" clId="{7E987533-4A11-452C-B47A-052FA9CCAC94}" dt="2022-06-06T07:36:32.256" v="1172" actId="6549"/>
          <ac:spMkLst>
            <pc:docMk/>
            <pc:sldMk cId="2404319665" sldId="2146846831"/>
            <ac:spMk id="4" creationId="{BDC7D266-0891-4430-9759-534065AEEEF3}"/>
          </ac:spMkLst>
        </pc:spChg>
        <pc:spChg chg="mod">
          <ac:chgData name="Hietalahti, Hannu (Nokia - FI/Oulu)" userId="bcd6d86d-9ffc-4aa1-b5a6-083a51dd89a7" providerId="ADAL" clId="{7E987533-4A11-452C-B47A-052FA9CCAC94}" dt="2022-06-06T07:46:56.287" v="1525" actId="20577"/>
          <ac:spMkLst>
            <pc:docMk/>
            <pc:sldMk cId="2404319665" sldId="2146846831"/>
            <ac:spMk id="5" creationId="{A560F786-3A6C-41F0-99EF-DFF4DE7F777C}"/>
          </ac:spMkLst>
        </pc:spChg>
        <pc:graphicFrameChg chg="mod">
          <ac:chgData name="Hietalahti, Hannu (Nokia - FI/Oulu)" userId="bcd6d86d-9ffc-4aa1-b5a6-083a51dd89a7" providerId="ADAL" clId="{7E987533-4A11-452C-B47A-052FA9CCAC94}" dt="2022-06-06T07:34:54.069" v="1123" actId="1036"/>
          <ac:graphicFrameMkLst>
            <pc:docMk/>
            <pc:sldMk cId="2404319665" sldId="2146846831"/>
            <ac:graphicFrameMk id="6" creationId="{B900D86B-0BC6-400F-A1C3-2B03462D8A77}"/>
          </ac:graphicFrameMkLst>
        </pc:graphicFrameChg>
      </pc:sldChg>
      <pc:sldChg chg="modSp add del mod">
        <pc:chgData name="Hietalahti, Hannu (Nokia - FI/Oulu)" userId="bcd6d86d-9ffc-4aa1-b5a6-083a51dd89a7" providerId="ADAL" clId="{7E987533-4A11-452C-B47A-052FA9CCAC94}" dt="2022-06-06T12:30:06.769" v="3457" actId="47"/>
        <pc:sldMkLst>
          <pc:docMk/>
          <pc:sldMk cId="1105408371" sldId="2146846832"/>
        </pc:sldMkLst>
        <pc:spChg chg="mod">
          <ac:chgData name="Hietalahti, Hannu (Nokia - FI/Oulu)" userId="bcd6d86d-9ffc-4aa1-b5a6-083a51dd89a7" providerId="ADAL" clId="{7E987533-4A11-452C-B47A-052FA9CCAC94}" dt="2022-06-06T07:39:39.138" v="1196"/>
          <ac:spMkLst>
            <pc:docMk/>
            <pc:sldMk cId="1105408371" sldId="2146846832"/>
            <ac:spMk id="2" creationId="{F55F6DD9-9F73-4475-B4C0-0BD35C69E49D}"/>
          </ac:spMkLst>
        </pc:spChg>
        <pc:spChg chg="mod">
          <ac:chgData name="Hietalahti, Hannu (Nokia - FI/Oulu)" userId="bcd6d86d-9ffc-4aa1-b5a6-083a51dd89a7" providerId="ADAL" clId="{7E987533-4A11-452C-B47A-052FA9CCAC94}" dt="2022-06-06T10:39:04.780" v="2214" actId="20577"/>
          <ac:spMkLst>
            <pc:docMk/>
            <pc:sldMk cId="1105408371" sldId="2146846832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7E987533-4A11-452C-B47A-052FA9CCAC94}" dt="2022-06-06T10:45:37.566" v="2553" actId="20577"/>
          <ac:spMkLst>
            <pc:docMk/>
            <pc:sldMk cId="1105408371" sldId="2146846832"/>
            <ac:spMk id="4" creationId="{CD72C33D-DF40-4601-AF02-8DFD5A6EA958}"/>
          </ac:spMkLst>
        </pc:spChg>
      </pc:sldChg>
      <pc:sldChg chg="delSp modSp add del mod">
        <pc:chgData name="Hietalahti, Hannu (Nokia - FI/Oulu)" userId="bcd6d86d-9ffc-4aa1-b5a6-083a51dd89a7" providerId="ADAL" clId="{7E987533-4A11-452C-B47A-052FA9CCAC94}" dt="2022-06-06T12:30:07.786" v="3458" actId="47"/>
        <pc:sldMkLst>
          <pc:docMk/>
          <pc:sldMk cId="3809117041" sldId="2146846833"/>
        </pc:sldMkLst>
        <pc:spChg chg="mod">
          <ac:chgData name="Hietalahti, Hannu (Nokia - FI/Oulu)" userId="bcd6d86d-9ffc-4aa1-b5a6-083a51dd89a7" providerId="ADAL" clId="{7E987533-4A11-452C-B47A-052FA9CCAC94}" dt="2022-06-06T10:39:11.859" v="2223" actId="20577"/>
          <ac:spMkLst>
            <pc:docMk/>
            <pc:sldMk cId="3809117041" sldId="2146846833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7E987533-4A11-452C-B47A-052FA9CCAC94}" dt="2022-06-06T07:54:33.772" v="1818" actId="1036"/>
          <ac:spMkLst>
            <pc:docMk/>
            <pc:sldMk cId="3809117041" sldId="2146846833"/>
            <ac:spMk id="4" creationId="{CD72C33D-DF40-4601-AF02-8DFD5A6EA958}"/>
          </ac:spMkLst>
        </pc:spChg>
        <pc:graphicFrameChg chg="del">
          <ac:chgData name="Hietalahti, Hannu (Nokia - FI/Oulu)" userId="bcd6d86d-9ffc-4aa1-b5a6-083a51dd89a7" providerId="ADAL" clId="{7E987533-4A11-452C-B47A-052FA9CCAC94}" dt="2022-06-06T07:50:52.889" v="1739" actId="478"/>
          <ac:graphicFrameMkLst>
            <pc:docMk/>
            <pc:sldMk cId="3809117041" sldId="2146846833"/>
            <ac:graphicFrameMk id="5" creationId="{ACB35D8B-CB72-4083-B8D5-44BE58A45729}"/>
          </ac:graphicFrameMkLst>
        </pc:graphicFrameChg>
      </pc:sldChg>
      <pc:sldChg chg="modSp add del mod">
        <pc:chgData name="Hietalahti, Hannu (Nokia - FI/Oulu)" userId="bcd6d86d-9ffc-4aa1-b5a6-083a51dd89a7" providerId="ADAL" clId="{7E987533-4A11-452C-B47A-052FA9CCAC94}" dt="2022-06-06T12:30:08.936" v="3459" actId="47"/>
        <pc:sldMkLst>
          <pc:docMk/>
          <pc:sldMk cId="1041305093" sldId="2146846834"/>
        </pc:sldMkLst>
        <pc:spChg chg="mod">
          <ac:chgData name="Hietalahti, Hannu (Nokia - FI/Oulu)" userId="bcd6d86d-9ffc-4aa1-b5a6-083a51dd89a7" providerId="ADAL" clId="{7E987533-4A11-452C-B47A-052FA9CCAC94}" dt="2022-06-06T10:39:56.153" v="2224"/>
          <ac:spMkLst>
            <pc:docMk/>
            <pc:sldMk cId="1041305093" sldId="2146846834"/>
            <ac:spMk id="2" creationId="{F55F6DD9-9F73-4475-B4C0-0BD35C69E49D}"/>
          </ac:spMkLst>
        </pc:spChg>
        <pc:spChg chg="mod">
          <ac:chgData name="Hietalahti, Hannu (Nokia - FI/Oulu)" userId="bcd6d86d-9ffc-4aa1-b5a6-083a51dd89a7" providerId="ADAL" clId="{7E987533-4A11-452C-B47A-052FA9CCAC94}" dt="2022-06-06T10:49:15.142" v="2990" actId="20577"/>
          <ac:spMkLst>
            <pc:docMk/>
            <pc:sldMk cId="1041305093" sldId="2146846834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7E987533-4A11-452C-B47A-052FA9CCAC94}" dt="2022-06-06T11:19:45.697" v="3285" actId="20577"/>
          <ac:spMkLst>
            <pc:docMk/>
            <pc:sldMk cId="1041305093" sldId="2146846834"/>
            <ac:spMk id="4" creationId="{CD72C33D-DF40-4601-AF02-8DFD5A6EA958}"/>
          </ac:spMkLst>
        </pc:spChg>
      </pc:sldChg>
      <pc:sldChg chg="delSp modSp add del mod">
        <pc:chgData name="Hietalahti, Hannu (Nokia - FI/Oulu)" userId="bcd6d86d-9ffc-4aa1-b5a6-083a51dd89a7" providerId="ADAL" clId="{7E987533-4A11-452C-B47A-052FA9CCAC94}" dt="2022-06-06T12:30:09.985" v="3460" actId="47"/>
        <pc:sldMkLst>
          <pc:docMk/>
          <pc:sldMk cId="121643193" sldId="2146846835"/>
        </pc:sldMkLst>
        <pc:spChg chg="mod">
          <ac:chgData name="Hietalahti, Hannu (Nokia - FI/Oulu)" userId="bcd6d86d-9ffc-4aa1-b5a6-083a51dd89a7" providerId="ADAL" clId="{7E987533-4A11-452C-B47A-052FA9CCAC94}" dt="2022-06-06T10:51:38.823" v="3020" actId="20577"/>
          <ac:spMkLst>
            <pc:docMk/>
            <pc:sldMk cId="121643193" sldId="2146846835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7E987533-4A11-452C-B47A-052FA9CCAC94}" dt="2022-06-06T11:43:13.069" v="3340" actId="255"/>
          <ac:spMkLst>
            <pc:docMk/>
            <pc:sldMk cId="121643193" sldId="2146846835"/>
            <ac:spMk id="4" creationId="{CD72C33D-DF40-4601-AF02-8DFD5A6EA958}"/>
          </ac:spMkLst>
        </pc:spChg>
        <pc:graphicFrameChg chg="del">
          <ac:chgData name="Hietalahti, Hannu (Nokia - FI/Oulu)" userId="bcd6d86d-9ffc-4aa1-b5a6-083a51dd89a7" providerId="ADAL" clId="{7E987533-4A11-452C-B47A-052FA9CCAC94}" dt="2022-06-06T10:58:25.154" v="3202" actId="478"/>
          <ac:graphicFrameMkLst>
            <pc:docMk/>
            <pc:sldMk cId="121643193" sldId="2146846835"/>
            <ac:graphicFrameMk id="5" creationId="{ACB35D8B-CB72-4083-B8D5-44BE58A45729}"/>
          </ac:graphicFrameMkLst>
        </pc:graphicFrameChg>
      </pc:sldChg>
      <pc:sldChg chg="modSp add del mod">
        <pc:chgData name="Hietalahti, Hannu (Nokia - FI/Oulu)" userId="bcd6d86d-9ffc-4aa1-b5a6-083a51dd89a7" providerId="ADAL" clId="{7E987533-4A11-452C-B47A-052FA9CCAC94}" dt="2022-06-06T12:30:11.225" v="3461" actId="47"/>
        <pc:sldMkLst>
          <pc:docMk/>
          <pc:sldMk cId="832477136" sldId="2146846836"/>
        </pc:sldMkLst>
        <pc:spChg chg="mod">
          <ac:chgData name="Hietalahti, Hannu (Nokia - FI/Oulu)" userId="bcd6d86d-9ffc-4aa1-b5a6-083a51dd89a7" providerId="ADAL" clId="{7E987533-4A11-452C-B47A-052FA9CCAC94}" dt="2022-06-06T11:43:44.733" v="3379" actId="20577"/>
          <ac:spMkLst>
            <pc:docMk/>
            <pc:sldMk cId="832477136" sldId="2146846836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7E987533-4A11-452C-B47A-052FA9CCAC94}" dt="2022-06-06T12:26:46.271" v="3452" actId="2711"/>
          <ac:spMkLst>
            <pc:docMk/>
            <pc:sldMk cId="832477136" sldId="2146846836"/>
            <ac:spMk id="4" creationId="{CD72C33D-DF40-4601-AF02-8DFD5A6EA958}"/>
          </ac:spMkLst>
        </pc:spChg>
      </pc:sldChg>
      <pc:sldChg chg="add">
        <pc:chgData name="Hietalahti, Hannu (Nokia - FI/Oulu)" userId="bcd6d86d-9ffc-4aa1-b5a6-083a51dd89a7" providerId="ADAL" clId="{7E987533-4A11-452C-B47A-052FA9CCAC94}" dt="2022-06-06T12:28:54.708" v="3453"/>
        <pc:sldMkLst>
          <pc:docMk/>
          <pc:sldMk cId="2701995069" sldId="2146846837"/>
        </pc:sldMkLst>
      </pc:sldChg>
      <pc:sldChg chg="add">
        <pc:chgData name="Hietalahti, Hannu (Nokia - FI/Oulu)" userId="bcd6d86d-9ffc-4aa1-b5a6-083a51dd89a7" providerId="ADAL" clId="{7E987533-4A11-452C-B47A-052FA9CCAC94}" dt="2022-06-06T12:28:54.708" v="3453"/>
        <pc:sldMkLst>
          <pc:docMk/>
          <pc:sldMk cId="1207088858" sldId="2146846838"/>
        </pc:sldMkLst>
      </pc:sldChg>
      <pc:sldChg chg="add">
        <pc:chgData name="Hietalahti, Hannu (Nokia - FI/Oulu)" userId="bcd6d86d-9ffc-4aa1-b5a6-083a51dd89a7" providerId="ADAL" clId="{7E987533-4A11-452C-B47A-052FA9CCAC94}" dt="2022-06-06T12:28:54.708" v="3453"/>
        <pc:sldMkLst>
          <pc:docMk/>
          <pc:sldMk cId="3243838235" sldId="2146846839"/>
        </pc:sldMkLst>
      </pc:sldChg>
      <pc:sldChg chg="add">
        <pc:chgData name="Hietalahti, Hannu (Nokia - FI/Oulu)" userId="bcd6d86d-9ffc-4aa1-b5a6-083a51dd89a7" providerId="ADAL" clId="{7E987533-4A11-452C-B47A-052FA9CCAC94}" dt="2022-06-06T12:28:54.708" v="3453"/>
        <pc:sldMkLst>
          <pc:docMk/>
          <pc:sldMk cId="1283891206" sldId="2146846840"/>
        </pc:sldMkLst>
      </pc:sldChg>
      <pc:sldChg chg="add">
        <pc:chgData name="Hietalahti, Hannu (Nokia - FI/Oulu)" userId="bcd6d86d-9ffc-4aa1-b5a6-083a51dd89a7" providerId="ADAL" clId="{7E987533-4A11-452C-B47A-052FA9CCAC94}" dt="2022-06-06T12:28:54.708" v="3453"/>
        <pc:sldMkLst>
          <pc:docMk/>
          <pc:sldMk cId="3193373667" sldId="2146846841"/>
        </pc:sldMkLst>
      </pc:sldChg>
      <pc:sldChg chg="add">
        <pc:chgData name="Hietalahti, Hannu (Nokia - FI/Oulu)" userId="bcd6d86d-9ffc-4aa1-b5a6-083a51dd89a7" providerId="ADAL" clId="{7E987533-4A11-452C-B47A-052FA9CCAC94}" dt="2022-06-06T12:28:54.708" v="3453"/>
        <pc:sldMkLst>
          <pc:docMk/>
          <pc:sldMk cId="867239777" sldId="2146846842"/>
        </pc:sldMkLst>
      </pc:sldChg>
      <pc:sldChg chg="add">
        <pc:chgData name="Hietalahti, Hannu (Nokia - FI/Oulu)" userId="bcd6d86d-9ffc-4aa1-b5a6-083a51dd89a7" providerId="ADAL" clId="{7E987533-4A11-452C-B47A-052FA9CCAC94}" dt="2022-06-06T12:28:54.708" v="3453"/>
        <pc:sldMkLst>
          <pc:docMk/>
          <pc:sldMk cId="2493071105" sldId="2146846843"/>
        </pc:sldMkLst>
      </pc:sldChg>
    </pc:docChg>
  </pc:docChgLst>
  <pc:docChgLst>
    <pc:chgData name="Alessio Casati (Nokia)" userId="S::alessio.casati@nokia.com::6f050b0a-bf61-49f1-93be-076af52cf2e7" providerId="AD" clId="Web-{8C74E542-121A-EBF7-0DDB-F473470827AF}"/>
    <pc:docChg chg="modSld">
      <pc:chgData name="Alessio Casati (Nokia)" userId="S::alessio.casati@nokia.com::6f050b0a-bf61-49f1-93be-076af52cf2e7" providerId="AD" clId="Web-{8C74E542-121A-EBF7-0DDB-F473470827AF}" dt="2022-12-02T12:30:13.633" v="56" actId="20577"/>
      <pc:docMkLst>
        <pc:docMk/>
      </pc:docMkLst>
      <pc:sldChg chg="modSp">
        <pc:chgData name="Alessio Casati (Nokia)" userId="S::alessio.casati@nokia.com::6f050b0a-bf61-49f1-93be-076af52cf2e7" providerId="AD" clId="Web-{8C74E542-121A-EBF7-0DDB-F473470827AF}" dt="2022-12-02T12:30:13.633" v="56" actId="20577"/>
        <pc:sldMkLst>
          <pc:docMk/>
          <pc:sldMk cId="1762226801" sldId="2146846817"/>
        </pc:sldMkLst>
        <pc:spChg chg="mod">
          <ac:chgData name="Alessio Casati (Nokia)" userId="S::alessio.casati@nokia.com::6f050b0a-bf61-49f1-93be-076af52cf2e7" providerId="AD" clId="Web-{8C74E542-121A-EBF7-0DDB-F473470827AF}" dt="2022-12-02T12:30:13.633" v="56" actId="20577"/>
          <ac:spMkLst>
            <pc:docMk/>
            <pc:sldMk cId="1762226801" sldId="2146846817"/>
            <ac:spMk id="4" creationId="{CD72C33D-DF40-4601-AF02-8DFD5A6EA958}"/>
          </ac:spMkLst>
        </pc:spChg>
      </pc:sldChg>
    </pc:docChg>
  </pc:docChgLst>
  <pc:docChgLst>
    <pc:chgData name="Chandramouli, Devaki (Nokia - US/Dallas)" userId="S::devaki.chandramouli@nokia.com::ebf2a9f8-651b-4485-926f-9d93c0eafbc5" providerId="AD" clId="Web-{C38F57FB-88FD-B48B-44D7-B5269CF19544}"/>
    <pc:docChg chg="modSld">
      <pc:chgData name="Chandramouli, Devaki (Nokia - US/Dallas)" userId="S::devaki.chandramouli@nokia.com::ebf2a9f8-651b-4485-926f-9d93c0eafbc5" providerId="AD" clId="Web-{C38F57FB-88FD-B48B-44D7-B5269CF19544}" dt="2020-03-12T18:36:46.192" v="98" actId="20577"/>
      <pc:docMkLst>
        <pc:docMk/>
      </pc:docMkLst>
      <pc:sldChg chg="modSp">
        <pc:chgData name="Chandramouli, Devaki (Nokia - US/Dallas)" userId="S::devaki.chandramouli@nokia.com::ebf2a9f8-651b-4485-926f-9d93c0eafbc5" providerId="AD" clId="Web-{C38F57FB-88FD-B48B-44D7-B5269CF19544}" dt="2020-03-12T18:36:46.176" v="97" actId="20577"/>
        <pc:sldMkLst>
          <pc:docMk/>
          <pc:sldMk cId="2914097150" sldId="273"/>
        </pc:sldMkLst>
        <pc:spChg chg="mod">
          <ac:chgData name="Chandramouli, Devaki (Nokia - US/Dallas)" userId="S::devaki.chandramouli@nokia.com::ebf2a9f8-651b-4485-926f-9d93c0eafbc5" providerId="AD" clId="Web-{C38F57FB-88FD-B48B-44D7-B5269CF19544}" dt="2020-03-12T18:36:46.176" v="97" actId="20577"/>
          <ac:spMkLst>
            <pc:docMk/>
            <pc:sldMk cId="2914097150" sldId="273"/>
            <ac:spMk id="5" creationId="{0FFE4F32-4C3B-461A-A8E4-7E9C955D0B31}"/>
          </ac:spMkLst>
        </pc:spChg>
      </pc:sldChg>
    </pc:docChg>
  </pc:docChgLst>
  <pc:docChgLst>
    <pc:chgData name="Singh, Shubhranshu (Nokia - DE/Munich)" userId="S::shubhranshu.singh@nokia-bell-labs.com::097f1207-65ae-4ec2-ab78-00d0c1d73a58" providerId="AD" clId="Web-{6E45C29F-B0E2-2000-ABB9-CF759E567525}"/>
    <pc:docChg chg="modSld">
      <pc:chgData name="Singh, Shubhranshu (Nokia - DE/Munich)" userId="S::shubhranshu.singh@nokia-bell-labs.com::097f1207-65ae-4ec2-ab78-00d0c1d73a58" providerId="AD" clId="Web-{6E45C29F-B0E2-2000-ABB9-CF759E567525}" dt="2021-04-27T07:19:59.341" v="23" actId="14100"/>
      <pc:docMkLst>
        <pc:docMk/>
      </pc:docMkLst>
      <pc:sldChg chg="modSp">
        <pc:chgData name="Singh, Shubhranshu (Nokia - DE/Munich)" userId="S::shubhranshu.singh@nokia-bell-labs.com::097f1207-65ae-4ec2-ab78-00d0c1d73a58" providerId="AD" clId="Web-{6E45C29F-B0E2-2000-ABB9-CF759E567525}" dt="2021-04-27T07:19:26.450" v="17" actId="20577"/>
        <pc:sldMkLst>
          <pc:docMk/>
          <pc:sldMk cId="113731936" sldId="2134805416"/>
        </pc:sldMkLst>
        <pc:spChg chg="mod">
          <ac:chgData name="Singh, Shubhranshu (Nokia - DE/Munich)" userId="S::shubhranshu.singh@nokia-bell-labs.com::097f1207-65ae-4ec2-ab78-00d0c1d73a58" providerId="AD" clId="Web-{6E45C29F-B0E2-2000-ABB9-CF759E567525}" dt="2021-04-27T07:19:26.450" v="17" actId="20577"/>
          <ac:spMkLst>
            <pc:docMk/>
            <pc:sldMk cId="113731936" sldId="2134805416"/>
            <ac:spMk id="3" creationId="{A4E748F3-52F3-4227-86AD-9C50826A6263}"/>
          </ac:spMkLst>
        </pc:spChg>
      </pc:sldChg>
      <pc:sldChg chg="modSp">
        <pc:chgData name="Singh, Shubhranshu (Nokia - DE/Munich)" userId="S::shubhranshu.singh@nokia-bell-labs.com::097f1207-65ae-4ec2-ab78-00d0c1d73a58" providerId="AD" clId="Web-{6E45C29F-B0E2-2000-ABB9-CF759E567525}" dt="2021-04-27T07:19:59.341" v="23" actId="14100"/>
        <pc:sldMkLst>
          <pc:docMk/>
          <pc:sldMk cId="191217492" sldId="2134805472"/>
        </pc:sldMkLst>
        <pc:spChg chg="mod">
          <ac:chgData name="Singh, Shubhranshu (Nokia - DE/Munich)" userId="S::shubhranshu.singh@nokia-bell-labs.com::097f1207-65ae-4ec2-ab78-00d0c1d73a58" providerId="AD" clId="Web-{6E45C29F-B0E2-2000-ABB9-CF759E567525}" dt="2021-04-27T07:19:59.341" v="23" actId="14100"/>
          <ac:spMkLst>
            <pc:docMk/>
            <pc:sldMk cId="191217492" sldId="2134805472"/>
            <ac:spMk id="29716" creationId="{00000000-0000-0000-0000-000000000000}"/>
          </ac:spMkLst>
        </pc:spChg>
        <pc:graphicFrameChg chg="modGraphic">
          <ac:chgData name="Singh, Shubhranshu (Nokia - DE/Munich)" userId="S::shubhranshu.singh@nokia-bell-labs.com::097f1207-65ae-4ec2-ab78-00d0c1d73a58" providerId="AD" clId="Web-{6E45C29F-B0E2-2000-ABB9-CF759E567525}" dt="2021-04-27T07:19:41.638" v="20"/>
          <ac:graphicFrameMkLst>
            <pc:docMk/>
            <pc:sldMk cId="191217492" sldId="2134805472"/>
            <ac:graphicFrameMk id="9" creationId="{00000000-0000-0000-0000-000000000000}"/>
          </ac:graphicFrameMkLst>
        </pc:graphicFrameChg>
      </pc:sldChg>
    </pc:docChg>
  </pc:docChgLst>
  <pc:docChgLst>
    <pc:chgData name="Belling, Thomas (Nokia - DE/Munich)" userId="38e53bf5-7a59-41ec-8bf1-bf611b810166" providerId="ADAL" clId="{2D20FF9A-9AB0-4D43-9655-C48890C2C971}"/>
    <pc:docChg chg="undo custSel addSld delSld modSld">
      <pc:chgData name="Belling, Thomas (Nokia - DE/Munich)" userId="38e53bf5-7a59-41ec-8bf1-bf611b810166" providerId="ADAL" clId="{2D20FF9A-9AB0-4D43-9655-C48890C2C971}" dt="2020-04-30T22:51:37.921" v="597" actId="12"/>
      <pc:docMkLst>
        <pc:docMk/>
      </pc:docMkLst>
      <pc:sldChg chg="addSp delSp modSp">
        <pc:chgData name="Belling, Thomas (Nokia - DE/Munich)" userId="38e53bf5-7a59-41ec-8bf1-bf611b810166" providerId="ADAL" clId="{2D20FF9A-9AB0-4D43-9655-C48890C2C971}" dt="2020-04-30T22:33:34.959" v="442" actId="14"/>
        <pc:sldMkLst>
          <pc:docMk/>
          <pc:sldMk cId="298917606" sldId="301"/>
        </pc:sldMkLst>
        <pc:spChg chg="mod">
          <ac:chgData name="Belling, Thomas (Nokia - DE/Munich)" userId="38e53bf5-7a59-41ec-8bf1-bf611b810166" providerId="ADAL" clId="{2D20FF9A-9AB0-4D43-9655-C48890C2C971}" dt="2020-04-30T22:33:34.959" v="442" actId="14"/>
          <ac:spMkLst>
            <pc:docMk/>
            <pc:sldMk cId="298917606" sldId="301"/>
            <ac:spMk id="5" creationId="{A560F786-3A6C-41F0-99EF-DFF4DE7F777C}"/>
          </ac:spMkLst>
        </pc:spChg>
        <pc:graphicFrameChg chg="add del">
          <ac:chgData name="Belling, Thomas (Nokia - DE/Munich)" userId="38e53bf5-7a59-41ec-8bf1-bf611b810166" providerId="ADAL" clId="{2D20FF9A-9AB0-4D43-9655-C48890C2C971}" dt="2020-04-30T22:21:12.584" v="13"/>
          <ac:graphicFrameMkLst>
            <pc:docMk/>
            <pc:sldMk cId="298917606" sldId="301"/>
            <ac:graphicFrameMk id="6" creationId="{6AEB888B-D75D-4384-B68D-C07E743D196C}"/>
          </ac:graphicFrameMkLst>
        </pc:graphicFrameChg>
      </pc:sldChg>
      <pc:sldChg chg="modSp">
        <pc:chgData name="Belling, Thomas (Nokia - DE/Munich)" userId="38e53bf5-7a59-41ec-8bf1-bf611b810166" providerId="ADAL" clId="{2D20FF9A-9AB0-4D43-9655-C48890C2C971}" dt="2020-04-30T22:44:42.500" v="582" actId="255"/>
        <pc:sldMkLst>
          <pc:docMk/>
          <pc:sldMk cId="1124374886" sldId="302"/>
        </pc:sldMkLst>
        <pc:spChg chg="mod">
          <ac:chgData name="Belling, Thomas (Nokia - DE/Munich)" userId="38e53bf5-7a59-41ec-8bf1-bf611b810166" providerId="ADAL" clId="{2D20FF9A-9AB0-4D43-9655-C48890C2C971}" dt="2020-04-30T22:43:27.133" v="577" actId="6549"/>
          <ac:spMkLst>
            <pc:docMk/>
            <pc:sldMk cId="1124374886" sldId="302"/>
            <ac:spMk id="4" creationId="{BDC7D266-0891-4430-9759-534065AEEEF3}"/>
          </ac:spMkLst>
        </pc:spChg>
        <pc:spChg chg="mod">
          <ac:chgData name="Belling, Thomas (Nokia - DE/Munich)" userId="38e53bf5-7a59-41ec-8bf1-bf611b810166" providerId="ADAL" clId="{2D20FF9A-9AB0-4D43-9655-C48890C2C971}" dt="2020-04-30T22:44:42.500" v="582" actId="255"/>
          <ac:spMkLst>
            <pc:docMk/>
            <pc:sldMk cId="1124374886" sldId="302"/>
            <ac:spMk id="5" creationId="{A560F786-3A6C-41F0-99EF-DFF4DE7F777C}"/>
          </ac:spMkLst>
        </pc:spChg>
      </pc:sldChg>
      <pc:sldChg chg="modSp">
        <pc:chgData name="Belling, Thomas (Nokia - DE/Munich)" userId="38e53bf5-7a59-41ec-8bf1-bf611b810166" providerId="ADAL" clId="{2D20FF9A-9AB0-4D43-9655-C48890C2C971}" dt="2020-04-30T22:46:42.789" v="587" actId="404"/>
        <pc:sldMkLst>
          <pc:docMk/>
          <pc:sldMk cId="62257519" sldId="304"/>
        </pc:sldMkLst>
        <pc:spChg chg="mod">
          <ac:chgData name="Belling, Thomas (Nokia - DE/Munich)" userId="38e53bf5-7a59-41ec-8bf1-bf611b810166" providerId="ADAL" clId="{2D20FF9A-9AB0-4D43-9655-C48890C2C971}" dt="2020-04-30T22:46:42.789" v="587" actId="404"/>
          <ac:spMkLst>
            <pc:docMk/>
            <pc:sldMk cId="62257519" sldId="304"/>
            <ac:spMk id="5" creationId="{A560F786-3A6C-41F0-99EF-DFF4DE7F777C}"/>
          </ac:spMkLst>
        </pc:spChg>
      </pc:sldChg>
      <pc:sldChg chg="del">
        <pc:chgData name="Belling, Thomas (Nokia - DE/Munich)" userId="38e53bf5-7a59-41ec-8bf1-bf611b810166" providerId="ADAL" clId="{2D20FF9A-9AB0-4D43-9655-C48890C2C971}" dt="2020-04-30T22:45:23.836" v="583" actId="2696"/>
        <pc:sldMkLst>
          <pc:docMk/>
          <pc:sldMk cId="2645683378" sldId="316"/>
        </pc:sldMkLst>
      </pc:sldChg>
      <pc:sldChg chg="modSp add">
        <pc:chgData name="Belling, Thomas (Nokia - DE/Munich)" userId="38e53bf5-7a59-41ec-8bf1-bf611b810166" providerId="ADAL" clId="{2D20FF9A-9AB0-4D43-9655-C48890C2C971}" dt="2020-04-30T22:51:37.921" v="597" actId="12"/>
        <pc:sldMkLst>
          <pc:docMk/>
          <pc:sldMk cId="4155573675" sldId="337"/>
        </pc:sldMkLst>
        <pc:spChg chg="mod">
          <ac:chgData name="Belling, Thomas (Nokia - DE/Munich)" userId="38e53bf5-7a59-41ec-8bf1-bf611b810166" providerId="ADAL" clId="{2D20FF9A-9AB0-4D43-9655-C48890C2C971}" dt="2020-04-30T22:51:37.921" v="597" actId="12"/>
          <ac:spMkLst>
            <pc:docMk/>
            <pc:sldMk cId="4155573675" sldId="337"/>
            <ac:spMk id="5" creationId="{A560F786-3A6C-41F0-99EF-DFF4DE7F777C}"/>
          </ac:spMkLst>
        </pc:spChg>
      </pc:sldChg>
    </pc:docChg>
  </pc:docChgLst>
  <pc:docChgLst>
    <pc:chgData name="Thiebaut, Laurent (Nokia - FR/Paris-Saclay)" userId="5a0f83ef-4330-4e17-8828-eca8fc03b257" providerId="ADAL" clId="{237B4586-C27D-4219-8174-935B80391CE4}"/>
    <pc:docChg chg="undo custSel addSld delSld modSld delMainMaster">
      <pc:chgData name="Thiebaut, Laurent (Nokia - FR/Paris-Saclay)" userId="5a0f83ef-4330-4e17-8828-eca8fc03b257" providerId="ADAL" clId="{237B4586-C27D-4219-8174-935B80391CE4}" dt="2022-06-13T08:21:52.564" v="756" actId="20577"/>
      <pc:docMkLst>
        <pc:docMk/>
      </pc:docMkLst>
      <pc:sldChg chg="addSp delSp modSp mod">
        <pc:chgData name="Thiebaut, Laurent (Nokia - FR/Paris-Saclay)" userId="5a0f83ef-4330-4e17-8828-eca8fc03b257" providerId="ADAL" clId="{237B4586-C27D-4219-8174-935B80391CE4}" dt="2022-06-13T08:06:19.445" v="750" actId="1076"/>
        <pc:sldMkLst>
          <pc:docMk/>
          <pc:sldMk cId="2530568336" sldId="259"/>
        </pc:sldMkLst>
        <pc:spChg chg="mod">
          <ac:chgData name="Thiebaut, Laurent (Nokia - FR/Paris-Saclay)" userId="5a0f83ef-4330-4e17-8828-eca8fc03b257" providerId="ADAL" clId="{237B4586-C27D-4219-8174-935B80391CE4}" dt="2022-06-13T08:06:14.590" v="749" actId="14100"/>
          <ac:spMkLst>
            <pc:docMk/>
            <pc:sldMk cId="2530568336" sldId="259"/>
            <ac:spMk id="5" creationId="{19C2794D-7A2C-4C3B-92BA-311B07B515ED}"/>
          </ac:spMkLst>
        </pc:spChg>
        <pc:picChg chg="add del mod">
          <ac:chgData name="Thiebaut, Laurent (Nokia - FR/Paris-Saclay)" userId="5a0f83ef-4330-4e17-8828-eca8fc03b257" providerId="ADAL" clId="{237B4586-C27D-4219-8174-935B80391CE4}" dt="2022-06-13T08:05:51.378" v="743" actId="478"/>
          <ac:picMkLst>
            <pc:docMk/>
            <pc:sldMk cId="2530568336" sldId="259"/>
            <ac:picMk id="3" creationId="{88A467F0-2ABA-4D91-8EEB-AAF75164256C}"/>
          </ac:picMkLst>
        </pc:picChg>
        <pc:picChg chg="add mod">
          <ac:chgData name="Thiebaut, Laurent (Nokia - FR/Paris-Saclay)" userId="5a0f83ef-4330-4e17-8828-eca8fc03b257" providerId="ADAL" clId="{237B4586-C27D-4219-8174-935B80391CE4}" dt="2022-06-13T08:06:19.445" v="750" actId="1076"/>
          <ac:picMkLst>
            <pc:docMk/>
            <pc:sldMk cId="2530568336" sldId="259"/>
            <ac:picMk id="6" creationId="{36D90895-8B1A-472D-B039-190D61FD798C}"/>
          </ac:picMkLst>
        </pc:picChg>
      </pc:sldChg>
      <pc:sldChg chg="modSp mod">
        <pc:chgData name="Thiebaut, Laurent (Nokia - FR/Paris-Saclay)" userId="5a0f83ef-4330-4e17-8828-eca8fc03b257" providerId="ADAL" clId="{237B4586-C27D-4219-8174-935B80391CE4}" dt="2022-06-10T10:21:06.190" v="121" actId="404"/>
        <pc:sldMkLst>
          <pc:docMk/>
          <pc:sldMk cId="2416036818" sldId="338"/>
        </pc:sldMkLst>
        <pc:spChg chg="mod">
          <ac:chgData name="Thiebaut, Laurent (Nokia - FR/Paris-Saclay)" userId="5a0f83ef-4330-4e17-8828-eca8fc03b257" providerId="ADAL" clId="{237B4586-C27D-4219-8174-935B80391CE4}" dt="2022-06-10T10:21:06.190" v="121" actId="404"/>
          <ac:spMkLst>
            <pc:docMk/>
            <pc:sldMk cId="2416036818" sldId="338"/>
            <ac:spMk id="5" creationId="{0A813F0E-7224-42E6-A359-B5A9B05FEE7A}"/>
          </ac:spMkLst>
        </pc:spChg>
      </pc:sldChg>
      <pc:sldChg chg="delSp mod">
        <pc:chgData name="Thiebaut, Laurent (Nokia - FR/Paris-Saclay)" userId="5a0f83ef-4330-4e17-8828-eca8fc03b257" providerId="ADAL" clId="{237B4586-C27D-4219-8174-935B80391CE4}" dt="2022-06-10T10:21:28.103" v="122" actId="478"/>
        <pc:sldMkLst>
          <pc:docMk/>
          <pc:sldMk cId="2152723967" sldId="1099"/>
        </pc:sldMkLst>
        <pc:spChg chg="del">
          <ac:chgData name="Thiebaut, Laurent (Nokia - FR/Paris-Saclay)" userId="5a0f83ef-4330-4e17-8828-eca8fc03b257" providerId="ADAL" clId="{237B4586-C27D-4219-8174-935B80391CE4}" dt="2022-06-10T10:21:28.103" v="122" actId="478"/>
          <ac:spMkLst>
            <pc:docMk/>
            <pc:sldMk cId="2152723967" sldId="1099"/>
            <ac:spMk id="153" creationId="{1C3A0C1A-4A7F-4632-AE4F-25D5EB969B3D}"/>
          </ac:spMkLst>
        </pc:spChg>
      </pc:sldChg>
      <pc:sldChg chg="addSp delSp modSp add mod">
        <pc:chgData name="Thiebaut, Laurent (Nokia - FR/Paris-Saclay)" userId="5a0f83ef-4330-4e17-8828-eca8fc03b257" providerId="ADAL" clId="{237B4586-C27D-4219-8174-935B80391CE4}" dt="2022-06-10T13:08:10.013" v="244"/>
        <pc:sldMkLst>
          <pc:docMk/>
          <pc:sldMk cId="564922792" sldId="2134805440"/>
        </pc:sldMkLst>
        <pc:spChg chg="add del mod">
          <ac:chgData name="Thiebaut, Laurent (Nokia - FR/Paris-Saclay)" userId="5a0f83ef-4330-4e17-8828-eca8fc03b257" providerId="ADAL" clId="{237B4586-C27D-4219-8174-935B80391CE4}" dt="2022-06-10T13:08:10.013" v="244"/>
          <ac:spMkLst>
            <pc:docMk/>
            <pc:sldMk cId="564922792" sldId="2134805440"/>
            <ac:spMk id="3" creationId="{32F43685-AE24-417E-AAF3-1AB266709CE9}"/>
          </ac:spMkLst>
        </pc:spChg>
        <pc:spChg chg="del">
          <ac:chgData name="Thiebaut, Laurent (Nokia - FR/Paris-Saclay)" userId="5a0f83ef-4330-4e17-8828-eca8fc03b257" providerId="ADAL" clId="{237B4586-C27D-4219-8174-935B80391CE4}" dt="2022-06-10T13:07:59.759" v="243" actId="478"/>
          <ac:spMkLst>
            <pc:docMk/>
            <pc:sldMk cId="564922792" sldId="2134805440"/>
            <ac:spMk id="6" creationId="{BD8B9A20-3139-4D8C-9DED-5D2A7810BD59}"/>
          </ac:spMkLst>
        </pc:spChg>
        <pc:spChg chg="add mod">
          <ac:chgData name="Thiebaut, Laurent (Nokia - FR/Paris-Saclay)" userId="5a0f83ef-4330-4e17-8828-eca8fc03b257" providerId="ADAL" clId="{237B4586-C27D-4219-8174-935B80391CE4}" dt="2022-06-10T13:08:10.013" v="244"/>
          <ac:spMkLst>
            <pc:docMk/>
            <pc:sldMk cId="564922792" sldId="2134805440"/>
            <ac:spMk id="100" creationId="{A033AEE5-28D2-48CB-8C36-6A14648D994B}"/>
          </ac:spMkLst>
        </pc:spChg>
      </pc:sldChg>
      <pc:sldChg chg="addSp delSp modSp mod">
        <pc:chgData name="Thiebaut, Laurent (Nokia - FR/Paris-Saclay)" userId="5a0f83ef-4330-4e17-8828-eca8fc03b257" providerId="ADAL" clId="{237B4586-C27D-4219-8174-935B80391CE4}" dt="2022-06-10T13:01:18.439" v="204" actId="478"/>
        <pc:sldMkLst>
          <pc:docMk/>
          <pc:sldMk cId="908993029" sldId="2134805527"/>
        </pc:sldMkLst>
        <pc:spChg chg="add mod">
          <ac:chgData name="Thiebaut, Laurent (Nokia - FR/Paris-Saclay)" userId="5a0f83ef-4330-4e17-8828-eca8fc03b257" providerId="ADAL" clId="{237B4586-C27D-4219-8174-935B80391CE4}" dt="2022-06-10T13:01:14.202" v="203" actId="1076"/>
          <ac:spMkLst>
            <pc:docMk/>
            <pc:sldMk cId="908993029" sldId="2134805527"/>
            <ac:spMk id="48" creationId="{363BC764-C7B1-4938-B601-C1D4BE3CEF0C}"/>
          </ac:spMkLst>
        </pc:spChg>
        <pc:spChg chg="add mod">
          <ac:chgData name="Thiebaut, Laurent (Nokia - FR/Paris-Saclay)" userId="5a0f83ef-4330-4e17-8828-eca8fc03b257" providerId="ADAL" clId="{237B4586-C27D-4219-8174-935B80391CE4}" dt="2022-06-10T10:19:43.677" v="117" actId="6549"/>
          <ac:spMkLst>
            <pc:docMk/>
            <pc:sldMk cId="908993029" sldId="2134805527"/>
            <ac:spMk id="49" creationId="{EA07AD3F-FACA-42BA-8768-1AC8765EBCA5}"/>
          </ac:spMkLst>
        </pc:spChg>
        <pc:cxnChg chg="mod">
          <ac:chgData name="Thiebaut, Laurent (Nokia - FR/Paris-Saclay)" userId="5a0f83ef-4330-4e17-8828-eca8fc03b257" providerId="ADAL" clId="{237B4586-C27D-4219-8174-935B80391CE4}" dt="2022-06-10T10:18:07.025" v="108" actId="1076"/>
          <ac:cxnSpMkLst>
            <pc:docMk/>
            <pc:sldMk cId="908993029" sldId="2134805527"/>
            <ac:cxnSpMk id="8" creationId="{31E383A0-3AB9-455E-8BC1-87201B8E64E5}"/>
          </ac:cxnSpMkLst>
        </pc:cxnChg>
        <pc:cxnChg chg="del">
          <ac:chgData name="Thiebaut, Laurent (Nokia - FR/Paris-Saclay)" userId="5a0f83ef-4330-4e17-8828-eca8fc03b257" providerId="ADAL" clId="{237B4586-C27D-4219-8174-935B80391CE4}" dt="2022-06-10T10:18:28.140" v="109" actId="478"/>
          <ac:cxnSpMkLst>
            <pc:docMk/>
            <pc:sldMk cId="908993029" sldId="2134805527"/>
            <ac:cxnSpMk id="72" creationId="{34AF5814-FECB-4812-8D02-06EFB15F192E}"/>
          </ac:cxnSpMkLst>
        </pc:cxnChg>
        <pc:cxnChg chg="del">
          <ac:chgData name="Thiebaut, Laurent (Nokia - FR/Paris-Saclay)" userId="5a0f83ef-4330-4e17-8828-eca8fc03b257" providerId="ADAL" clId="{237B4586-C27D-4219-8174-935B80391CE4}" dt="2022-06-10T10:18:45.062" v="110" actId="478"/>
          <ac:cxnSpMkLst>
            <pc:docMk/>
            <pc:sldMk cId="908993029" sldId="2134805527"/>
            <ac:cxnSpMk id="81" creationId="{7203AC03-3A33-4A6C-B724-C5169C465A98}"/>
          </ac:cxnSpMkLst>
        </pc:cxnChg>
        <pc:cxnChg chg="del">
          <ac:chgData name="Thiebaut, Laurent (Nokia - FR/Paris-Saclay)" userId="5a0f83ef-4330-4e17-8828-eca8fc03b257" providerId="ADAL" clId="{237B4586-C27D-4219-8174-935B80391CE4}" dt="2022-06-10T13:01:18.439" v="204" actId="478"/>
          <ac:cxnSpMkLst>
            <pc:docMk/>
            <pc:sldMk cId="908993029" sldId="2134805527"/>
            <ac:cxnSpMk id="82" creationId="{C08756D4-CB52-4691-9F68-01C6E5760AA6}"/>
          </ac:cxnSpMkLst>
        </pc:cxnChg>
      </pc:sldChg>
      <pc:sldChg chg="modSp mod">
        <pc:chgData name="Thiebaut, Laurent (Nokia - FR/Paris-Saclay)" userId="5a0f83ef-4330-4e17-8828-eca8fc03b257" providerId="ADAL" clId="{237B4586-C27D-4219-8174-935B80391CE4}" dt="2022-06-10T10:22:58.459" v="126" actId="6549"/>
        <pc:sldMkLst>
          <pc:docMk/>
          <pc:sldMk cId="374592939" sldId="2134805583"/>
        </pc:sldMkLst>
        <pc:spChg chg="mod">
          <ac:chgData name="Thiebaut, Laurent (Nokia - FR/Paris-Saclay)" userId="5a0f83ef-4330-4e17-8828-eca8fc03b257" providerId="ADAL" clId="{237B4586-C27D-4219-8174-935B80391CE4}" dt="2022-06-10T10:22:58.459" v="126" actId="6549"/>
          <ac:spMkLst>
            <pc:docMk/>
            <pc:sldMk cId="374592939" sldId="2134805583"/>
            <ac:spMk id="4" creationId="{CD72C33D-DF40-4601-AF02-8DFD5A6EA958}"/>
          </ac:spMkLst>
        </pc:spChg>
      </pc:sldChg>
      <pc:sldChg chg="addSp modSp mod">
        <pc:chgData name="Thiebaut, Laurent (Nokia - FR/Paris-Saclay)" userId="5a0f83ef-4330-4e17-8828-eca8fc03b257" providerId="ADAL" clId="{237B4586-C27D-4219-8174-935B80391CE4}" dt="2022-06-10T13:03:41.813" v="230" actId="14100"/>
        <pc:sldMkLst>
          <pc:docMk/>
          <pc:sldMk cId="2969031349" sldId="2134805584"/>
        </pc:sldMkLst>
        <pc:spChg chg="mod">
          <ac:chgData name="Thiebaut, Laurent (Nokia - FR/Paris-Saclay)" userId="5a0f83ef-4330-4e17-8828-eca8fc03b257" providerId="ADAL" clId="{237B4586-C27D-4219-8174-935B80391CE4}" dt="2022-06-10T13:03:33.257" v="229" actId="20577"/>
          <ac:spMkLst>
            <pc:docMk/>
            <pc:sldMk cId="2969031349" sldId="2134805584"/>
            <ac:spMk id="4" creationId="{CD72C33D-DF40-4601-AF02-8DFD5A6EA958}"/>
          </ac:spMkLst>
        </pc:spChg>
        <pc:spChg chg="add mod">
          <ac:chgData name="Thiebaut, Laurent (Nokia - FR/Paris-Saclay)" userId="5a0f83ef-4330-4e17-8828-eca8fc03b257" providerId="ADAL" clId="{237B4586-C27D-4219-8174-935B80391CE4}" dt="2022-06-10T10:24:45.457" v="132" actId="1076"/>
          <ac:spMkLst>
            <pc:docMk/>
            <pc:sldMk cId="2969031349" sldId="2134805584"/>
            <ac:spMk id="6" creationId="{C7C6D126-F62B-49F3-A64F-0CD22BB78A93}"/>
          </ac:spMkLst>
        </pc:spChg>
        <pc:graphicFrameChg chg="mod">
          <ac:chgData name="Thiebaut, Laurent (Nokia - FR/Paris-Saclay)" userId="5a0f83ef-4330-4e17-8828-eca8fc03b257" providerId="ADAL" clId="{237B4586-C27D-4219-8174-935B80391CE4}" dt="2022-06-10T10:25:00.416" v="134" actId="1076"/>
          <ac:graphicFrameMkLst>
            <pc:docMk/>
            <pc:sldMk cId="2969031349" sldId="2134805584"/>
            <ac:graphicFrameMk id="5" creationId="{C8BBFCFC-A916-4DFF-91B3-3D3FB6D6A8D0}"/>
          </ac:graphicFrameMkLst>
        </pc:graphicFrameChg>
        <pc:graphicFrameChg chg="add mod">
          <ac:chgData name="Thiebaut, Laurent (Nokia - FR/Paris-Saclay)" userId="5a0f83ef-4330-4e17-8828-eca8fc03b257" providerId="ADAL" clId="{237B4586-C27D-4219-8174-935B80391CE4}" dt="2022-06-10T13:03:41.813" v="230" actId="14100"/>
          <ac:graphicFrameMkLst>
            <pc:docMk/>
            <pc:sldMk cId="2969031349" sldId="2134805584"/>
            <ac:graphicFrameMk id="7" creationId="{84828CC4-19A6-4F80-8F8F-849FD7F32594}"/>
          </ac:graphicFrameMkLst>
        </pc:graphicFrameChg>
      </pc:sldChg>
      <pc:sldChg chg="modSp mod">
        <pc:chgData name="Thiebaut, Laurent (Nokia - FR/Paris-Saclay)" userId="5a0f83ef-4330-4e17-8828-eca8fc03b257" providerId="ADAL" clId="{237B4586-C27D-4219-8174-935B80391CE4}" dt="2022-06-10T13:09:18.575" v="252" actId="6549"/>
        <pc:sldMkLst>
          <pc:docMk/>
          <pc:sldMk cId="1819896102" sldId="2134805586"/>
        </pc:sldMkLst>
        <pc:spChg chg="mod">
          <ac:chgData name="Thiebaut, Laurent (Nokia - FR/Paris-Saclay)" userId="5a0f83ef-4330-4e17-8828-eca8fc03b257" providerId="ADAL" clId="{237B4586-C27D-4219-8174-935B80391CE4}" dt="2022-06-10T13:09:18.575" v="252" actId="6549"/>
          <ac:spMkLst>
            <pc:docMk/>
            <pc:sldMk cId="1819896102" sldId="2134805586"/>
            <ac:spMk id="4" creationId="{CD72C33D-DF40-4601-AF02-8DFD5A6EA958}"/>
          </ac:spMkLst>
        </pc:spChg>
      </pc:sldChg>
      <pc:sldChg chg="modSp mod">
        <pc:chgData name="Thiebaut, Laurent (Nokia - FR/Paris-Saclay)" userId="5a0f83ef-4330-4e17-8828-eca8fc03b257" providerId="ADAL" clId="{237B4586-C27D-4219-8174-935B80391CE4}" dt="2022-06-10T10:28:21.119" v="201" actId="20577"/>
        <pc:sldMkLst>
          <pc:docMk/>
          <pc:sldMk cId="681358297" sldId="2134805587"/>
        </pc:sldMkLst>
        <pc:spChg chg="mod">
          <ac:chgData name="Thiebaut, Laurent (Nokia - FR/Paris-Saclay)" userId="5a0f83ef-4330-4e17-8828-eca8fc03b257" providerId="ADAL" clId="{237B4586-C27D-4219-8174-935B80391CE4}" dt="2022-06-10T10:28:21.119" v="201" actId="20577"/>
          <ac:spMkLst>
            <pc:docMk/>
            <pc:sldMk cId="681358297" sldId="2134805587"/>
            <ac:spMk id="4" creationId="{CD72C33D-DF40-4601-AF02-8DFD5A6EA958}"/>
          </ac:spMkLst>
        </pc:spChg>
      </pc:sldChg>
      <pc:sldChg chg="modSp mod">
        <pc:chgData name="Thiebaut, Laurent (Nokia - FR/Paris-Saclay)" userId="5a0f83ef-4330-4e17-8828-eca8fc03b257" providerId="ADAL" clId="{237B4586-C27D-4219-8174-935B80391CE4}" dt="2022-06-10T13:09:49.727" v="260" actId="20577"/>
        <pc:sldMkLst>
          <pc:docMk/>
          <pc:sldMk cId="493333457" sldId="2134805598"/>
        </pc:sldMkLst>
        <pc:spChg chg="mod">
          <ac:chgData name="Thiebaut, Laurent (Nokia - FR/Paris-Saclay)" userId="5a0f83ef-4330-4e17-8828-eca8fc03b257" providerId="ADAL" clId="{237B4586-C27D-4219-8174-935B80391CE4}" dt="2022-06-10T13:09:49.727" v="260" actId="20577"/>
          <ac:spMkLst>
            <pc:docMk/>
            <pc:sldMk cId="493333457" sldId="2134805598"/>
            <ac:spMk id="4" creationId="{B91515A7-343D-47E8-82B8-D58ED83CD3B1}"/>
          </ac:spMkLst>
        </pc:spChg>
      </pc:sldChg>
      <pc:sldChg chg="modSp mod">
        <pc:chgData name="Thiebaut, Laurent (Nokia - FR/Paris-Saclay)" userId="5a0f83ef-4330-4e17-8828-eca8fc03b257" providerId="ADAL" clId="{237B4586-C27D-4219-8174-935B80391CE4}" dt="2022-06-13T08:21:52.564" v="756" actId="20577"/>
        <pc:sldMkLst>
          <pc:docMk/>
          <pc:sldMk cId="765254280" sldId="2146846794"/>
        </pc:sldMkLst>
        <pc:spChg chg="mod">
          <ac:chgData name="Thiebaut, Laurent (Nokia - FR/Paris-Saclay)" userId="5a0f83ef-4330-4e17-8828-eca8fc03b257" providerId="ADAL" clId="{237B4586-C27D-4219-8174-935B80391CE4}" dt="2022-06-13T08:21:52.564" v="756" actId="20577"/>
          <ac:spMkLst>
            <pc:docMk/>
            <pc:sldMk cId="765254280" sldId="2146846794"/>
            <ac:spMk id="2" creationId="{828AE646-029C-43F1-BE54-1B04A2DEF02D}"/>
          </ac:spMkLst>
        </pc:spChg>
      </pc:sldChg>
      <pc:sldChg chg="addSp delSp modSp add mod">
        <pc:chgData name="Thiebaut, Laurent (Nokia - FR/Paris-Saclay)" userId="5a0f83ef-4330-4e17-8828-eca8fc03b257" providerId="ADAL" clId="{237B4586-C27D-4219-8174-935B80391CE4}" dt="2022-06-10T13:07:51.012" v="242" actId="478"/>
        <pc:sldMkLst>
          <pc:docMk/>
          <pc:sldMk cId="27830158" sldId="2146846801"/>
        </pc:sldMkLst>
        <pc:spChg chg="mod">
          <ac:chgData name="Thiebaut, Laurent (Nokia - FR/Paris-Saclay)" userId="5a0f83ef-4330-4e17-8828-eca8fc03b257" providerId="ADAL" clId="{237B4586-C27D-4219-8174-935B80391CE4}" dt="2022-06-10T13:07:38.847" v="239"/>
          <ac:spMkLst>
            <pc:docMk/>
            <pc:sldMk cId="27830158" sldId="2146846801"/>
            <ac:spMk id="2" creationId="{758407A9-2962-4E88-9EF8-0DC8BD05E7B4}"/>
          </ac:spMkLst>
        </pc:spChg>
        <pc:spChg chg="mod">
          <ac:chgData name="Thiebaut, Laurent (Nokia - FR/Paris-Saclay)" userId="5a0f83ef-4330-4e17-8828-eca8fc03b257" providerId="ADAL" clId="{237B4586-C27D-4219-8174-935B80391CE4}" dt="2022-06-10T13:07:47.047" v="241"/>
          <ac:spMkLst>
            <pc:docMk/>
            <pc:sldMk cId="27830158" sldId="2146846801"/>
            <ac:spMk id="3" creationId="{55D689F7-EBCE-4A4C-A8A3-69844E935CC8}"/>
          </ac:spMkLst>
        </pc:spChg>
        <pc:spChg chg="add mod">
          <ac:chgData name="Thiebaut, Laurent (Nokia - FR/Paris-Saclay)" userId="5a0f83ef-4330-4e17-8828-eca8fc03b257" providerId="ADAL" clId="{237B4586-C27D-4219-8174-935B80391CE4}" dt="2022-06-10T13:07:51.012" v="242" actId="478"/>
          <ac:spMkLst>
            <pc:docMk/>
            <pc:sldMk cId="27830158" sldId="2146846801"/>
            <ac:spMk id="6" creationId="{94FB2F8B-4960-4520-B79E-27C7223F93A6}"/>
          </ac:spMkLst>
        </pc:spChg>
        <pc:spChg chg="add del mod">
          <ac:chgData name="Thiebaut, Laurent (Nokia - FR/Paris-Saclay)" userId="5a0f83ef-4330-4e17-8828-eca8fc03b257" providerId="ADAL" clId="{237B4586-C27D-4219-8174-935B80391CE4}" dt="2022-06-10T13:07:51.012" v="242" actId="478"/>
          <ac:spMkLst>
            <pc:docMk/>
            <pc:sldMk cId="27830158" sldId="2146846801"/>
            <ac:spMk id="25" creationId="{04D694F1-798B-4C1D-8C7D-CB4B31FDB5F1}"/>
          </ac:spMkLst>
        </pc:spChg>
      </pc:sldChg>
      <pc:sldChg chg="modSp add del mod">
        <pc:chgData name="Thiebaut, Laurent (Nokia - FR/Paris-Saclay)" userId="5a0f83ef-4330-4e17-8828-eca8fc03b257" providerId="ADAL" clId="{237B4586-C27D-4219-8174-935B80391CE4}" dt="2022-06-10T13:10:14.644" v="265" actId="20577"/>
        <pc:sldMkLst>
          <pc:docMk/>
          <pc:sldMk cId="3808526133" sldId="2146846805"/>
        </pc:sldMkLst>
        <pc:spChg chg="mod">
          <ac:chgData name="Thiebaut, Laurent (Nokia - FR/Paris-Saclay)" userId="5a0f83ef-4330-4e17-8828-eca8fc03b257" providerId="ADAL" clId="{237B4586-C27D-4219-8174-935B80391CE4}" dt="2022-06-10T13:10:14.644" v="265" actId="20577"/>
          <ac:spMkLst>
            <pc:docMk/>
            <pc:sldMk cId="3808526133" sldId="2146846805"/>
            <ac:spMk id="4" creationId="{EE8F8129-6DFE-4C88-8770-3B754B94D0F9}"/>
          </ac:spMkLst>
        </pc:spChg>
      </pc:sldChg>
      <pc:sldChg chg="modSp mod">
        <pc:chgData name="Thiebaut, Laurent (Nokia - FR/Paris-Saclay)" userId="5a0f83ef-4330-4e17-8828-eca8fc03b257" providerId="ADAL" clId="{237B4586-C27D-4219-8174-935B80391CE4}" dt="2022-06-10T13:05:54.152" v="232"/>
        <pc:sldMkLst>
          <pc:docMk/>
          <pc:sldMk cId="494238848" sldId="2146846814"/>
        </pc:sldMkLst>
        <pc:spChg chg="mod">
          <ac:chgData name="Thiebaut, Laurent (Nokia - FR/Paris-Saclay)" userId="5a0f83ef-4330-4e17-8828-eca8fc03b257" providerId="ADAL" clId="{237B4586-C27D-4219-8174-935B80391CE4}" dt="2022-06-10T13:05:54.152" v="232"/>
          <ac:spMkLst>
            <pc:docMk/>
            <pc:sldMk cId="494238848" sldId="2146846814"/>
            <ac:spMk id="4" creationId="{CD72C33D-DF40-4601-AF02-8DFD5A6EA958}"/>
          </ac:spMkLst>
        </pc:spChg>
      </pc:sldChg>
      <pc:sldChg chg="addSp delSp modSp mod">
        <pc:chgData name="Thiebaut, Laurent (Nokia - FR/Paris-Saclay)" userId="5a0f83ef-4330-4e17-8828-eca8fc03b257" providerId="ADAL" clId="{237B4586-C27D-4219-8174-935B80391CE4}" dt="2022-06-10T16:40:03.172" v="696" actId="20577"/>
        <pc:sldMkLst>
          <pc:docMk/>
          <pc:sldMk cId="477553370" sldId="2146846815"/>
        </pc:sldMkLst>
        <pc:spChg chg="mod">
          <ac:chgData name="Thiebaut, Laurent (Nokia - FR/Paris-Saclay)" userId="5a0f83ef-4330-4e17-8828-eca8fc03b257" providerId="ADAL" clId="{237B4586-C27D-4219-8174-935B80391CE4}" dt="2022-06-10T16:40:03.172" v="696" actId="20577"/>
          <ac:spMkLst>
            <pc:docMk/>
            <pc:sldMk cId="477553370" sldId="2146846815"/>
            <ac:spMk id="4" creationId="{CD72C33D-DF40-4601-AF02-8DFD5A6EA958}"/>
          </ac:spMkLst>
        </pc:spChg>
        <pc:graphicFrameChg chg="add del mod">
          <ac:chgData name="Thiebaut, Laurent (Nokia - FR/Paris-Saclay)" userId="5a0f83ef-4330-4e17-8828-eca8fc03b257" providerId="ADAL" clId="{237B4586-C27D-4219-8174-935B80391CE4}" dt="2022-06-10T16:39:55.317" v="694"/>
          <ac:graphicFrameMkLst>
            <pc:docMk/>
            <pc:sldMk cId="477553370" sldId="2146846815"/>
            <ac:graphicFrameMk id="5" creationId="{AE21B984-8034-478A-B1A3-F76E9652BB2A}"/>
          </ac:graphicFrameMkLst>
        </pc:graphicFrameChg>
      </pc:sldChg>
      <pc:sldChg chg="modSp mod">
        <pc:chgData name="Thiebaut, Laurent (Nokia - FR/Paris-Saclay)" userId="5a0f83ef-4330-4e17-8828-eca8fc03b257" providerId="ADAL" clId="{237B4586-C27D-4219-8174-935B80391CE4}" dt="2022-06-10T13:11:06.316" v="269" actId="27636"/>
        <pc:sldMkLst>
          <pc:docMk/>
          <pc:sldMk cId="2280338077" sldId="2146846816"/>
        </pc:sldMkLst>
        <pc:spChg chg="mod">
          <ac:chgData name="Thiebaut, Laurent (Nokia - FR/Paris-Saclay)" userId="5a0f83ef-4330-4e17-8828-eca8fc03b257" providerId="ADAL" clId="{237B4586-C27D-4219-8174-935B80391CE4}" dt="2022-06-10T13:11:06.316" v="269" actId="27636"/>
          <ac:spMkLst>
            <pc:docMk/>
            <pc:sldMk cId="2280338077" sldId="2146846816"/>
            <ac:spMk id="4" creationId="{CD72C33D-DF40-4601-AF02-8DFD5A6EA958}"/>
          </ac:spMkLst>
        </pc:spChg>
      </pc:sldChg>
      <pc:sldChg chg="add">
        <pc:chgData name="Thiebaut, Laurent (Nokia - FR/Paris-Saclay)" userId="5a0f83ef-4330-4e17-8828-eca8fc03b257" providerId="ADAL" clId="{237B4586-C27D-4219-8174-935B80391CE4}" dt="2022-06-10T13:28:23.236" v="270"/>
        <pc:sldMkLst>
          <pc:docMk/>
          <pc:sldMk cId="1096440652" sldId="2146846884"/>
        </pc:sldMkLst>
      </pc:sldChg>
      <pc:sldChg chg="modSp add mod">
        <pc:chgData name="Thiebaut, Laurent (Nokia - FR/Paris-Saclay)" userId="5a0f83ef-4330-4e17-8828-eca8fc03b257" providerId="ADAL" clId="{237B4586-C27D-4219-8174-935B80391CE4}" dt="2022-06-10T16:09:31.919" v="656" actId="115"/>
        <pc:sldMkLst>
          <pc:docMk/>
          <pc:sldMk cId="1350432651" sldId="2146846885"/>
        </pc:sldMkLst>
        <pc:spChg chg="mod">
          <ac:chgData name="Thiebaut, Laurent (Nokia - FR/Paris-Saclay)" userId="5a0f83ef-4330-4e17-8828-eca8fc03b257" providerId="ADAL" clId="{237B4586-C27D-4219-8174-935B80391CE4}" dt="2022-06-10T16:09:31.919" v="656" actId="115"/>
          <ac:spMkLst>
            <pc:docMk/>
            <pc:sldMk cId="1350432651" sldId="2146846885"/>
            <ac:spMk id="4" creationId="{CD72C33D-DF40-4601-AF02-8DFD5A6EA958}"/>
          </ac:spMkLst>
        </pc:spChg>
      </pc:sldChg>
      <pc:sldChg chg="modSp add mod">
        <pc:chgData name="Thiebaut, Laurent (Nokia - FR/Paris-Saclay)" userId="5a0f83ef-4330-4e17-8828-eca8fc03b257" providerId="ADAL" clId="{237B4586-C27D-4219-8174-935B80391CE4}" dt="2022-06-10T16:54:22.804" v="697" actId="108"/>
        <pc:sldMkLst>
          <pc:docMk/>
          <pc:sldMk cId="4263948022" sldId="2146846886"/>
        </pc:sldMkLst>
        <pc:spChg chg="mod">
          <ac:chgData name="Thiebaut, Laurent (Nokia - FR/Paris-Saclay)" userId="5a0f83ef-4330-4e17-8828-eca8fc03b257" providerId="ADAL" clId="{237B4586-C27D-4219-8174-935B80391CE4}" dt="2022-06-10T16:54:22.804" v="697" actId="108"/>
          <ac:spMkLst>
            <pc:docMk/>
            <pc:sldMk cId="4263948022" sldId="2146846886"/>
            <ac:spMk id="4" creationId="{CD72C33D-DF40-4601-AF02-8DFD5A6EA958}"/>
          </ac:spMkLst>
        </pc:spChg>
      </pc:sldChg>
      <pc:sldChg chg="add">
        <pc:chgData name="Thiebaut, Laurent (Nokia - FR/Paris-Saclay)" userId="5a0f83ef-4330-4e17-8828-eca8fc03b257" providerId="ADAL" clId="{237B4586-C27D-4219-8174-935B80391CE4}" dt="2022-06-10T13:39:17.448" v="558"/>
        <pc:sldMkLst>
          <pc:docMk/>
          <pc:sldMk cId="1781349773" sldId="2146846887"/>
        </pc:sldMkLst>
      </pc:sldChg>
      <pc:sldMasterChg chg="del delSldLayout">
        <pc:chgData name="Thiebaut, Laurent (Nokia - FR/Paris-Saclay)" userId="5a0f83ef-4330-4e17-8828-eca8fc03b257" providerId="ADAL" clId="{237B4586-C27D-4219-8174-935B80391CE4}" dt="2022-06-10T10:16:25.912" v="101" actId="2696"/>
        <pc:sldMasterMkLst>
          <pc:docMk/>
          <pc:sldMasterMk cId="3644516792" sldId="2147483676"/>
        </pc:sldMasterMkLst>
        <pc:sldLayoutChg chg="del">
          <pc:chgData name="Thiebaut, Laurent (Nokia - FR/Paris-Saclay)" userId="5a0f83ef-4330-4e17-8828-eca8fc03b257" providerId="ADAL" clId="{237B4586-C27D-4219-8174-935B80391CE4}" dt="2022-06-10T10:16:25.911" v="100" actId="2696"/>
          <pc:sldLayoutMkLst>
            <pc:docMk/>
            <pc:sldMasterMk cId="3644516792" sldId="2147483676"/>
            <pc:sldLayoutMk cId="3184901029" sldId="2147483677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876" v="82" actId="2696"/>
        <pc:sldMasterMkLst>
          <pc:docMk/>
          <pc:sldMasterMk cId="2753873327" sldId="2147483712"/>
        </pc:sldMasterMkLst>
        <pc:sldLayoutChg chg="del">
          <pc:chgData name="Thiebaut, Laurent (Nokia - FR/Paris-Saclay)" userId="5a0f83ef-4330-4e17-8828-eca8fc03b257" providerId="ADAL" clId="{237B4586-C27D-4219-8174-935B80391CE4}" dt="2022-06-10T10:16:25.873" v="81" actId="2696"/>
          <pc:sldLayoutMkLst>
            <pc:docMk/>
            <pc:sldMasterMk cId="2753873327" sldId="2147483712"/>
            <pc:sldLayoutMk cId="1486873247" sldId="2147483723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671" v="13" actId="2696"/>
        <pc:sldMasterMkLst>
          <pc:docMk/>
          <pc:sldMasterMk cId="1189544865" sldId="2147483730"/>
        </pc:sldMasterMkLst>
        <pc:sldLayoutChg chg="del">
          <pc:chgData name="Thiebaut, Laurent (Nokia - FR/Paris-Saclay)" userId="5a0f83ef-4330-4e17-8828-eca8fc03b257" providerId="ADAL" clId="{237B4586-C27D-4219-8174-935B80391CE4}" dt="2022-06-10T10:16:25.650" v="7" actId="2696"/>
          <pc:sldLayoutMkLst>
            <pc:docMk/>
            <pc:sldMasterMk cId="1189544865" sldId="2147483730"/>
            <pc:sldLayoutMk cId="2321459168" sldId="2147483731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51" v="8" actId="2696"/>
          <pc:sldLayoutMkLst>
            <pc:docMk/>
            <pc:sldMasterMk cId="1189544865" sldId="2147483730"/>
            <pc:sldLayoutMk cId="160635691" sldId="2147483732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52" v="9" actId="2696"/>
          <pc:sldLayoutMkLst>
            <pc:docMk/>
            <pc:sldMasterMk cId="1189544865" sldId="2147483730"/>
            <pc:sldLayoutMk cId="2276810324" sldId="2147483733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54" v="10" actId="2696"/>
          <pc:sldLayoutMkLst>
            <pc:docMk/>
            <pc:sldMasterMk cId="1189544865" sldId="2147483730"/>
            <pc:sldLayoutMk cId="936897626" sldId="2147483734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54" v="11" actId="2696"/>
          <pc:sldLayoutMkLst>
            <pc:docMk/>
            <pc:sldMasterMk cId="1189544865" sldId="2147483730"/>
            <pc:sldLayoutMk cId="897898718" sldId="2147483735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55" v="12" actId="2696"/>
          <pc:sldLayoutMkLst>
            <pc:docMk/>
            <pc:sldMasterMk cId="1189544865" sldId="2147483730"/>
            <pc:sldLayoutMk cId="3961741588" sldId="2147483736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712" v="36" actId="2696"/>
        <pc:sldMasterMkLst>
          <pc:docMk/>
          <pc:sldMasterMk cId="32684946" sldId="2147483737"/>
        </pc:sldMasterMkLst>
        <pc:sldLayoutChg chg="del">
          <pc:chgData name="Thiebaut, Laurent (Nokia - FR/Paris-Saclay)" userId="5a0f83ef-4330-4e17-8828-eca8fc03b257" providerId="ADAL" clId="{237B4586-C27D-4219-8174-935B80391CE4}" dt="2022-06-10T10:16:25.691" v="30" actId="2696"/>
          <pc:sldLayoutMkLst>
            <pc:docMk/>
            <pc:sldMasterMk cId="32684946" sldId="2147483737"/>
            <pc:sldLayoutMk cId="4109252818" sldId="2147483738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93" v="31" actId="2696"/>
          <pc:sldLayoutMkLst>
            <pc:docMk/>
            <pc:sldMasterMk cId="32684946" sldId="2147483737"/>
            <pc:sldLayoutMk cId="1407098973" sldId="2147483739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94" v="32" actId="2696"/>
          <pc:sldLayoutMkLst>
            <pc:docMk/>
            <pc:sldMasterMk cId="32684946" sldId="2147483737"/>
            <pc:sldLayoutMk cId="515719643" sldId="2147483740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95" v="33" actId="2696"/>
          <pc:sldLayoutMkLst>
            <pc:docMk/>
            <pc:sldMasterMk cId="32684946" sldId="2147483737"/>
            <pc:sldLayoutMk cId="3675851562" sldId="2147483741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96" v="34" actId="2696"/>
          <pc:sldLayoutMkLst>
            <pc:docMk/>
            <pc:sldMasterMk cId="32684946" sldId="2147483737"/>
            <pc:sldLayoutMk cId="2583027736" sldId="2147483742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97" v="35" actId="2696"/>
          <pc:sldLayoutMkLst>
            <pc:docMk/>
            <pc:sldMasterMk cId="32684946" sldId="2147483737"/>
            <pc:sldLayoutMk cId="2548406338" sldId="2147483743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798" v="61" actId="2696"/>
        <pc:sldMasterMkLst>
          <pc:docMk/>
          <pc:sldMasterMk cId="3767857193" sldId="2147483744"/>
        </pc:sldMasterMkLst>
        <pc:sldLayoutChg chg="del">
          <pc:chgData name="Thiebaut, Laurent (Nokia - FR/Paris-Saclay)" userId="5a0f83ef-4330-4e17-8828-eca8fc03b257" providerId="ADAL" clId="{237B4586-C27D-4219-8174-935B80391CE4}" dt="2022-06-10T10:16:25.778" v="55" actId="2696"/>
          <pc:sldLayoutMkLst>
            <pc:docMk/>
            <pc:sldMasterMk cId="3767857193" sldId="2147483744"/>
            <pc:sldLayoutMk cId="437755670" sldId="2147483745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80" v="56" actId="2696"/>
          <pc:sldLayoutMkLst>
            <pc:docMk/>
            <pc:sldMasterMk cId="3767857193" sldId="2147483744"/>
            <pc:sldLayoutMk cId="3506652354" sldId="2147483746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81" v="57" actId="2696"/>
          <pc:sldLayoutMkLst>
            <pc:docMk/>
            <pc:sldMasterMk cId="3767857193" sldId="2147483744"/>
            <pc:sldLayoutMk cId="3332383381" sldId="2147483747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82" v="58" actId="2696"/>
          <pc:sldLayoutMkLst>
            <pc:docMk/>
            <pc:sldMasterMk cId="3767857193" sldId="2147483744"/>
            <pc:sldLayoutMk cId="2124780909" sldId="2147483748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83" v="59" actId="2696"/>
          <pc:sldLayoutMkLst>
            <pc:docMk/>
            <pc:sldMasterMk cId="3767857193" sldId="2147483744"/>
            <pc:sldLayoutMk cId="481395344" sldId="2147483749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84" v="60" actId="2696"/>
          <pc:sldLayoutMkLst>
            <pc:docMk/>
            <pc:sldMasterMk cId="3767857193" sldId="2147483744"/>
            <pc:sldLayoutMk cId="2595102564" sldId="2147483750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871" v="80" actId="2696"/>
        <pc:sldMasterMkLst>
          <pc:docMk/>
          <pc:sldMasterMk cId="4181354278" sldId="2147483751"/>
        </pc:sldMasterMkLst>
        <pc:sldLayoutChg chg="del">
          <pc:chgData name="Thiebaut, Laurent (Nokia - FR/Paris-Saclay)" userId="5a0f83ef-4330-4e17-8828-eca8fc03b257" providerId="ADAL" clId="{237B4586-C27D-4219-8174-935B80391CE4}" dt="2022-06-10T10:16:25.845" v="74" actId="2696"/>
          <pc:sldLayoutMkLst>
            <pc:docMk/>
            <pc:sldMasterMk cId="4181354278" sldId="2147483751"/>
            <pc:sldLayoutMk cId="3938955288" sldId="2147483752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47" v="75" actId="2696"/>
          <pc:sldLayoutMkLst>
            <pc:docMk/>
            <pc:sldMasterMk cId="4181354278" sldId="2147483751"/>
            <pc:sldLayoutMk cId="1611331723" sldId="2147483753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48" v="76" actId="2696"/>
          <pc:sldLayoutMkLst>
            <pc:docMk/>
            <pc:sldMasterMk cId="4181354278" sldId="2147483751"/>
            <pc:sldLayoutMk cId="703480100" sldId="2147483754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50" v="77" actId="2696"/>
          <pc:sldLayoutMkLst>
            <pc:docMk/>
            <pc:sldMasterMk cId="4181354278" sldId="2147483751"/>
            <pc:sldLayoutMk cId="3330588444" sldId="2147483755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51" v="78" actId="2696"/>
          <pc:sldLayoutMkLst>
            <pc:docMk/>
            <pc:sldMasterMk cId="4181354278" sldId="2147483751"/>
            <pc:sldLayoutMk cId="2843745013" sldId="2147483756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52" v="79" actId="2696"/>
          <pc:sldLayoutMkLst>
            <pc:docMk/>
            <pc:sldMasterMk cId="4181354278" sldId="2147483751"/>
            <pc:sldLayoutMk cId="1133745932" sldId="2147483757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910" v="99" actId="2696"/>
        <pc:sldMasterMkLst>
          <pc:docMk/>
          <pc:sldMasterMk cId="854094207" sldId="2147483758"/>
        </pc:sldMasterMkLst>
        <pc:sldLayoutChg chg="del">
          <pc:chgData name="Thiebaut, Laurent (Nokia - FR/Paris-Saclay)" userId="5a0f83ef-4330-4e17-8828-eca8fc03b257" providerId="ADAL" clId="{237B4586-C27D-4219-8174-935B80391CE4}" dt="2022-06-10T10:16:25.898" v="89" actId="2696"/>
          <pc:sldLayoutMkLst>
            <pc:docMk/>
            <pc:sldMasterMk cId="854094207" sldId="2147483758"/>
            <pc:sldLayoutMk cId="69355912" sldId="2147483759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99" v="90" actId="2696"/>
          <pc:sldLayoutMkLst>
            <pc:docMk/>
            <pc:sldMasterMk cId="854094207" sldId="2147483758"/>
            <pc:sldLayoutMk cId="3019335844" sldId="2147483760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00" v="91" actId="2696"/>
          <pc:sldLayoutMkLst>
            <pc:docMk/>
            <pc:sldMasterMk cId="854094207" sldId="2147483758"/>
            <pc:sldLayoutMk cId="1054231996" sldId="2147483761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01" v="92" actId="2696"/>
          <pc:sldLayoutMkLst>
            <pc:docMk/>
            <pc:sldMasterMk cId="854094207" sldId="2147483758"/>
            <pc:sldLayoutMk cId="535133306" sldId="2147483762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02" v="93" actId="2696"/>
          <pc:sldLayoutMkLst>
            <pc:docMk/>
            <pc:sldMasterMk cId="854094207" sldId="2147483758"/>
            <pc:sldLayoutMk cId="2073574496" sldId="2147483763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03" v="94" actId="2696"/>
          <pc:sldLayoutMkLst>
            <pc:docMk/>
            <pc:sldMasterMk cId="854094207" sldId="2147483758"/>
            <pc:sldLayoutMk cId="751169481" sldId="2147483764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04" v="95" actId="2696"/>
          <pc:sldLayoutMkLst>
            <pc:docMk/>
            <pc:sldMasterMk cId="854094207" sldId="2147483758"/>
            <pc:sldLayoutMk cId="211015985" sldId="2147483765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04" v="96" actId="2696"/>
          <pc:sldLayoutMkLst>
            <pc:docMk/>
            <pc:sldMasterMk cId="854094207" sldId="2147483758"/>
            <pc:sldLayoutMk cId="611898263" sldId="2147483766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06" v="97" actId="2696"/>
          <pc:sldLayoutMkLst>
            <pc:docMk/>
            <pc:sldMasterMk cId="854094207" sldId="2147483758"/>
            <pc:sldLayoutMk cId="2004856117" sldId="2147483767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08" v="98" actId="2696"/>
          <pc:sldLayoutMkLst>
            <pc:docMk/>
            <pc:sldMasterMk cId="854094207" sldId="2147483758"/>
            <pc:sldLayoutMk cId="260783755" sldId="2147483768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736" v="42" actId="2696"/>
        <pc:sldMasterMkLst>
          <pc:docMk/>
          <pc:sldMasterMk cId="565920749" sldId="2147483781"/>
        </pc:sldMasterMkLst>
        <pc:sldLayoutChg chg="del">
          <pc:chgData name="Thiebaut, Laurent (Nokia - FR/Paris-Saclay)" userId="5a0f83ef-4330-4e17-8828-eca8fc03b257" providerId="ADAL" clId="{237B4586-C27D-4219-8174-935B80391CE4}" dt="2022-06-10T10:16:25.714" v="37" actId="2696"/>
          <pc:sldLayoutMkLst>
            <pc:docMk/>
            <pc:sldMasterMk cId="565920749" sldId="2147483781"/>
            <pc:sldLayoutMk cId="1001175385" sldId="2147483782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15" v="38" actId="2696"/>
          <pc:sldLayoutMkLst>
            <pc:docMk/>
            <pc:sldMasterMk cId="565920749" sldId="2147483781"/>
            <pc:sldLayoutMk cId="253455956" sldId="2147483783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16" v="39" actId="2696"/>
          <pc:sldLayoutMkLst>
            <pc:docMk/>
            <pc:sldMasterMk cId="565920749" sldId="2147483781"/>
            <pc:sldLayoutMk cId="1463271572" sldId="2147483784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17" v="40" actId="2696"/>
          <pc:sldLayoutMkLst>
            <pc:docMk/>
            <pc:sldMasterMk cId="565920749" sldId="2147483781"/>
            <pc:sldLayoutMk cId="595911793" sldId="2147483785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17" v="41" actId="2696"/>
          <pc:sldLayoutMkLst>
            <pc:docMk/>
            <pc:sldMasterMk cId="565920749" sldId="2147483781"/>
            <pc:sldLayoutMk cId="3826008503" sldId="2147483786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777" v="54" actId="2696"/>
        <pc:sldMasterMkLst>
          <pc:docMk/>
          <pc:sldMasterMk cId="3836806142" sldId="2147483787"/>
        </pc:sldMasterMkLst>
        <pc:sldLayoutChg chg="del">
          <pc:chgData name="Thiebaut, Laurent (Nokia - FR/Paris-Saclay)" userId="5a0f83ef-4330-4e17-8828-eca8fc03b257" providerId="ADAL" clId="{237B4586-C27D-4219-8174-935B80391CE4}" dt="2022-06-10T10:16:25.755" v="49" actId="2696"/>
          <pc:sldLayoutMkLst>
            <pc:docMk/>
            <pc:sldMasterMk cId="3836806142" sldId="2147483787"/>
            <pc:sldLayoutMk cId="2282463831" sldId="2147483788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57" v="50" actId="2696"/>
          <pc:sldLayoutMkLst>
            <pc:docMk/>
            <pc:sldMasterMk cId="3836806142" sldId="2147483787"/>
            <pc:sldLayoutMk cId="707733067" sldId="2147483789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57" v="51" actId="2696"/>
          <pc:sldLayoutMkLst>
            <pc:docMk/>
            <pc:sldMasterMk cId="3836806142" sldId="2147483787"/>
            <pc:sldLayoutMk cId="23331034" sldId="2147483790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58" v="52" actId="2696"/>
          <pc:sldLayoutMkLst>
            <pc:docMk/>
            <pc:sldMasterMk cId="3836806142" sldId="2147483787"/>
            <pc:sldLayoutMk cId="3931256257" sldId="2147483791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60" v="53" actId="2696"/>
          <pc:sldLayoutMkLst>
            <pc:docMk/>
            <pc:sldMasterMk cId="3836806142" sldId="2147483787"/>
            <pc:sldLayoutMk cId="3984650740" sldId="2147483792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844" v="73" actId="2696"/>
        <pc:sldMasterMkLst>
          <pc:docMk/>
          <pc:sldMasterMk cId="2722333764" sldId="2147483794"/>
        </pc:sldMasterMkLst>
        <pc:sldLayoutChg chg="del">
          <pc:chgData name="Thiebaut, Laurent (Nokia - FR/Paris-Saclay)" userId="5a0f83ef-4330-4e17-8828-eca8fc03b257" providerId="ADAL" clId="{237B4586-C27D-4219-8174-935B80391CE4}" dt="2022-06-10T10:16:25.819" v="68" actId="2696"/>
          <pc:sldLayoutMkLst>
            <pc:docMk/>
            <pc:sldMasterMk cId="2722333764" sldId="2147483794"/>
            <pc:sldLayoutMk cId="1438430905" sldId="2147483795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20" v="69" actId="2696"/>
          <pc:sldLayoutMkLst>
            <pc:docMk/>
            <pc:sldMasterMk cId="2722333764" sldId="2147483794"/>
            <pc:sldLayoutMk cId="331619769" sldId="2147483796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21" v="70" actId="2696"/>
          <pc:sldLayoutMkLst>
            <pc:docMk/>
            <pc:sldMasterMk cId="2722333764" sldId="2147483794"/>
            <pc:sldLayoutMk cId="1311212083" sldId="2147483797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22" v="71" actId="2696"/>
          <pc:sldLayoutMkLst>
            <pc:docMk/>
            <pc:sldMasterMk cId="2722333764" sldId="2147483794"/>
            <pc:sldLayoutMk cId="2463446741" sldId="2147483798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23" v="72" actId="2696"/>
          <pc:sldLayoutMkLst>
            <pc:docMk/>
            <pc:sldMasterMk cId="2722333764" sldId="2147483794"/>
            <pc:sldLayoutMk cId="667540107" sldId="2147483799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897" v="88" actId="2696"/>
        <pc:sldMasterMkLst>
          <pc:docMk/>
          <pc:sldMasterMk cId="4089647105" sldId="2147483800"/>
        </pc:sldMasterMkLst>
        <pc:sldLayoutChg chg="del">
          <pc:chgData name="Thiebaut, Laurent (Nokia - FR/Paris-Saclay)" userId="5a0f83ef-4330-4e17-8828-eca8fc03b257" providerId="ADAL" clId="{237B4586-C27D-4219-8174-935B80391CE4}" dt="2022-06-10T10:16:25.877" v="83" actId="2696"/>
          <pc:sldLayoutMkLst>
            <pc:docMk/>
            <pc:sldMasterMk cId="4089647105" sldId="2147483800"/>
            <pc:sldLayoutMk cId="813372234" sldId="2147483801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78" v="84" actId="2696"/>
          <pc:sldLayoutMkLst>
            <pc:docMk/>
            <pc:sldMasterMk cId="4089647105" sldId="2147483800"/>
            <pc:sldLayoutMk cId="884929318" sldId="2147483802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79" v="85" actId="2696"/>
          <pc:sldLayoutMkLst>
            <pc:docMk/>
            <pc:sldMasterMk cId="4089647105" sldId="2147483800"/>
            <pc:sldLayoutMk cId="2843507696" sldId="2147483803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81" v="86" actId="2696"/>
          <pc:sldLayoutMkLst>
            <pc:docMk/>
            <pc:sldMasterMk cId="4089647105" sldId="2147483800"/>
            <pc:sldLayoutMk cId="3446566527" sldId="2147483804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82" v="87" actId="2696"/>
          <pc:sldLayoutMkLst>
            <pc:docMk/>
            <pc:sldMasterMk cId="4089647105" sldId="2147483800"/>
            <pc:sldLayoutMk cId="4268898758" sldId="2147483805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934" v="107" actId="2696"/>
        <pc:sldMasterMkLst>
          <pc:docMk/>
          <pc:sldMasterMk cId="3061602277" sldId="2147483806"/>
        </pc:sldMasterMkLst>
        <pc:sldLayoutChg chg="del">
          <pc:chgData name="Thiebaut, Laurent (Nokia - FR/Paris-Saclay)" userId="5a0f83ef-4330-4e17-8828-eca8fc03b257" providerId="ADAL" clId="{237B4586-C27D-4219-8174-935B80391CE4}" dt="2022-06-10T10:16:25.913" v="102" actId="2696"/>
          <pc:sldLayoutMkLst>
            <pc:docMk/>
            <pc:sldMasterMk cId="3061602277" sldId="2147483806"/>
            <pc:sldLayoutMk cId="1347667134" sldId="2147483807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14" v="103" actId="2696"/>
          <pc:sldLayoutMkLst>
            <pc:docMk/>
            <pc:sldMasterMk cId="3061602277" sldId="2147483806"/>
            <pc:sldLayoutMk cId="4033161696" sldId="2147483808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15" v="104" actId="2696"/>
          <pc:sldLayoutMkLst>
            <pc:docMk/>
            <pc:sldMasterMk cId="3061602277" sldId="2147483806"/>
            <pc:sldLayoutMk cId="4148404933" sldId="2147483809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16" v="105" actId="2696"/>
          <pc:sldLayoutMkLst>
            <pc:docMk/>
            <pc:sldMasterMk cId="3061602277" sldId="2147483806"/>
            <pc:sldLayoutMk cId="370635937" sldId="2147483810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917" v="106" actId="2696"/>
          <pc:sldLayoutMkLst>
            <pc:docMk/>
            <pc:sldMasterMk cId="3061602277" sldId="2147483806"/>
            <pc:sldLayoutMk cId="806459454" sldId="2147483811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648" v="6" actId="2696"/>
        <pc:sldMasterMkLst>
          <pc:docMk/>
          <pc:sldMasterMk cId="580573950" sldId="2147483812"/>
        </pc:sldMasterMkLst>
        <pc:sldLayoutChg chg="del">
          <pc:chgData name="Thiebaut, Laurent (Nokia - FR/Paris-Saclay)" userId="5a0f83ef-4330-4e17-8828-eca8fc03b257" providerId="ADAL" clId="{237B4586-C27D-4219-8174-935B80391CE4}" dt="2022-06-10T10:16:25.605" v="0" actId="2696"/>
          <pc:sldLayoutMkLst>
            <pc:docMk/>
            <pc:sldMasterMk cId="580573950" sldId="2147483812"/>
            <pc:sldLayoutMk cId="897371534" sldId="2147483813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07" v="1" actId="2696"/>
          <pc:sldLayoutMkLst>
            <pc:docMk/>
            <pc:sldMasterMk cId="580573950" sldId="2147483812"/>
            <pc:sldLayoutMk cId="2911580819" sldId="2147483814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08" v="2" actId="2696"/>
          <pc:sldLayoutMkLst>
            <pc:docMk/>
            <pc:sldMasterMk cId="580573950" sldId="2147483812"/>
            <pc:sldLayoutMk cId="173736229" sldId="2147483815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11" v="3" actId="2696"/>
          <pc:sldLayoutMkLst>
            <pc:docMk/>
            <pc:sldMasterMk cId="580573950" sldId="2147483812"/>
            <pc:sldLayoutMk cId="3141122588" sldId="2147483816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12" v="4" actId="2696"/>
          <pc:sldLayoutMkLst>
            <pc:docMk/>
            <pc:sldMasterMk cId="580573950" sldId="2147483812"/>
            <pc:sldLayoutMk cId="2724488274" sldId="2147483817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13" v="5" actId="2696"/>
          <pc:sldLayoutMkLst>
            <pc:docMk/>
            <pc:sldMasterMk cId="580573950" sldId="2147483812"/>
            <pc:sldLayoutMk cId="1743716121" sldId="2147483818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690" v="29" actId="2696"/>
        <pc:sldMasterMkLst>
          <pc:docMk/>
          <pc:sldMasterMk cId="897606961" sldId="2147483819"/>
        </pc:sldMasterMkLst>
        <pc:sldLayoutChg chg="del">
          <pc:chgData name="Thiebaut, Laurent (Nokia - FR/Paris-Saclay)" userId="5a0f83ef-4330-4e17-8828-eca8fc03b257" providerId="ADAL" clId="{237B4586-C27D-4219-8174-935B80391CE4}" dt="2022-06-10T10:16:25.672" v="14" actId="2696"/>
          <pc:sldLayoutMkLst>
            <pc:docMk/>
            <pc:sldMasterMk cId="897606961" sldId="2147483819"/>
            <pc:sldLayoutMk cId="1609831305" sldId="2147483820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73" v="15" actId="2696"/>
          <pc:sldLayoutMkLst>
            <pc:docMk/>
            <pc:sldMasterMk cId="897606961" sldId="2147483819"/>
            <pc:sldLayoutMk cId="2339753635" sldId="2147483821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74" v="16" actId="2696"/>
          <pc:sldLayoutMkLst>
            <pc:docMk/>
            <pc:sldMasterMk cId="897606961" sldId="2147483819"/>
            <pc:sldLayoutMk cId="4200699718" sldId="2147483822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76" v="17" actId="2696"/>
          <pc:sldLayoutMkLst>
            <pc:docMk/>
            <pc:sldMasterMk cId="897606961" sldId="2147483819"/>
            <pc:sldLayoutMk cId="2611584468" sldId="2147483823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77" v="18" actId="2696"/>
          <pc:sldLayoutMkLst>
            <pc:docMk/>
            <pc:sldMasterMk cId="897606961" sldId="2147483819"/>
            <pc:sldLayoutMk cId="327755131" sldId="2147483824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78" v="19" actId="2696"/>
          <pc:sldLayoutMkLst>
            <pc:docMk/>
            <pc:sldMasterMk cId="897606961" sldId="2147483819"/>
            <pc:sldLayoutMk cId="1749860192" sldId="2147483825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79" v="20" actId="2696"/>
          <pc:sldLayoutMkLst>
            <pc:docMk/>
            <pc:sldMasterMk cId="897606961" sldId="2147483819"/>
            <pc:sldLayoutMk cId="1350996745" sldId="2147483826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80" v="21" actId="2696"/>
          <pc:sldLayoutMkLst>
            <pc:docMk/>
            <pc:sldMasterMk cId="897606961" sldId="2147483819"/>
            <pc:sldLayoutMk cId="2299811946" sldId="2147483827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81" v="22" actId="2696"/>
          <pc:sldLayoutMkLst>
            <pc:docMk/>
            <pc:sldMasterMk cId="897606961" sldId="2147483819"/>
            <pc:sldLayoutMk cId="1471207470" sldId="2147483828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83" v="23" actId="2696"/>
          <pc:sldLayoutMkLst>
            <pc:docMk/>
            <pc:sldMasterMk cId="897606961" sldId="2147483819"/>
            <pc:sldLayoutMk cId="3663139011" sldId="2147483829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84" v="24" actId="2696"/>
          <pc:sldLayoutMkLst>
            <pc:docMk/>
            <pc:sldMasterMk cId="897606961" sldId="2147483819"/>
            <pc:sldLayoutMk cId="2264663675" sldId="2147483830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84" v="25" actId="2696"/>
          <pc:sldLayoutMkLst>
            <pc:docMk/>
            <pc:sldMasterMk cId="897606961" sldId="2147483819"/>
            <pc:sldLayoutMk cId="2938873151" sldId="2147483831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85" v="26" actId="2696"/>
          <pc:sldLayoutMkLst>
            <pc:docMk/>
            <pc:sldMasterMk cId="897606961" sldId="2147483819"/>
            <pc:sldLayoutMk cId="3965804047" sldId="2147483832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86" v="27" actId="2696"/>
          <pc:sldLayoutMkLst>
            <pc:docMk/>
            <pc:sldMasterMk cId="897606961" sldId="2147483819"/>
            <pc:sldLayoutMk cId="3924250445" sldId="2147483833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688" v="28" actId="2696"/>
          <pc:sldLayoutMkLst>
            <pc:docMk/>
            <pc:sldMasterMk cId="897606961" sldId="2147483819"/>
            <pc:sldLayoutMk cId="1088654187" sldId="2147483834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817" v="67" actId="2696"/>
        <pc:sldMasterMkLst>
          <pc:docMk/>
          <pc:sldMasterMk cId="3889236332" sldId="2147483835"/>
        </pc:sldMasterMkLst>
        <pc:sldLayoutChg chg="del">
          <pc:chgData name="Thiebaut, Laurent (Nokia - FR/Paris-Saclay)" userId="5a0f83ef-4330-4e17-8828-eca8fc03b257" providerId="ADAL" clId="{237B4586-C27D-4219-8174-935B80391CE4}" dt="2022-06-10T10:16:25.799" v="62" actId="2696"/>
          <pc:sldLayoutMkLst>
            <pc:docMk/>
            <pc:sldMasterMk cId="3889236332" sldId="2147483835"/>
            <pc:sldLayoutMk cId="1043206468" sldId="2147483836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99" v="63" actId="2696"/>
          <pc:sldLayoutMkLst>
            <pc:docMk/>
            <pc:sldMasterMk cId="3889236332" sldId="2147483835"/>
            <pc:sldLayoutMk cId="2279539566" sldId="2147483838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00" v="64" actId="2696"/>
          <pc:sldLayoutMkLst>
            <pc:docMk/>
            <pc:sldMasterMk cId="3889236332" sldId="2147483835"/>
            <pc:sldLayoutMk cId="1113627544" sldId="2147483839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01" v="65" actId="2696"/>
          <pc:sldLayoutMkLst>
            <pc:docMk/>
            <pc:sldMasterMk cId="3889236332" sldId="2147483835"/>
            <pc:sldLayoutMk cId="3987858151" sldId="2147483840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802" v="66" actId="2696"/>
          <pc:sldLayoutMkLst>
            <pc:docMk/>
            <pc:sldMasterMk cId="3889236332" sldId="2147483835"/>
            <pc:sldLayoutMk cId="1537117238" sldId="2147483841"/>
          </pc:sldLayoutMkLst>
        </pc:sldLayoutChg>
      </pc:sldMasterChg>
      <pc:sldMasterChg chg="del delSldLayout">
        <pc:chgData name="Thiebaut, Laurent (Nokia - FR/Paris-Saclay)" userId="5a0f83ef-4330-4e17-8828-eca8fc03b257" providerId="ADAL" clId="{237B4586-C27D-4219-8174-935B80391CE4}" dt="2022-06-10T10:16:25.755" v="48" actId="2696"/>
        <pc:sldMasterMkLst>
          <pc:docMk/>
          <pc:sldMasterMk cId="2843214372" sldId="2147483871"/>
        </pc:sldMasterMkLst>
        <pc:sldLayoutChg chg="del">
          <pc:chgData name="Thiebaut, Laurent (Nokia - FR/Paris-Saclay)" userId="5a0f83ef-4330-4e17-8828-eca8fc03b257" providerId="ADAL" clId="{237B4586-C27D-4219-8174-935B80391CE4}" dt="2022-06-10T10:16:25.737" v="43" actId="2696"/>
          <pc:sldLayoutMkLst>
            <pc:docMk/>
            <pc:sldMasterMk cId="2843214372" sldId="2147483871"/>
            <pc:sldLayoutMk cId="2745301771" sldId="2147483872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38" v="44" actId="2696"/>
          <pc:sldLayoutMkLst>
            <pc:docMk/>
            <pc:sldMasterMk cId="2843214372" sldId="2147483871"/>
            <pc:sldLayoutMk cId="391637865" sldId="2147483873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39" v="45" actId="2696"/>
          <pc:sldLayoutMkLst>
            <pc:docMk/>
            <pc:sldMasterMk cId="2843214372" sldId="2147483871"/>
            <pc:sldLayoutMk cId="3839750908" sldId="2147483874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40" v="46" actId="2696"/>
          <pc:sldLayoutMkLst>
            <pc:docMk/>
            <pc:sldMasterMk cId="2843214372" sldId="2147483871"/>
            <pc:sldLayoutMk cId="1630542619" sldId="2147483875"/>
          </pc:sldLayoutMkLst>
        </pc:sldLayoutChg>
        <pc:sldLayoutChg chg="del">
          <pc:chgData name="Thiebaut, Laurent (Nokia - FR/Paris-Saclay)" userId="5a0f83ef-4330-4e17-8828-eca8fc03b257" providerId="ADAL" clId="{237B4586-C27D-4219-8174-935B80391CE4}" dt="2022-06-10T10:16:25.741" v="47" actId="2696"/>
          <pc:sldLayoutMkLst>
            <pc:docMk/>
            <pc:sldMasterMk cId="2843214372" sldId="2147483871"/>
            <pc:sldLayoutMk cId="3819114319" sldId="2147483876"/>
          </pc:sldLayoutMkLst>
        </pc:sldLayoutChg>
      </pc:sldMasterChg>
    </pc:docChg>
  </pc:docChgLst>
  <pc:docChgLst>
    <pc:chgData name="Singh, Shubhranshu (Nokia - DE/Munich)" userId="S::shubhranshu.singh@nokia-bell-labs.com::097f1207-65ae-4ec2-ab78-00d0c1d73a58" providerId="AD" clId="Web-{C91F7D75-7695-1CBC-0BBF-FC36ECFA9F5F}"/>
    <pc:docChg chg="modSld">
      <pc:chgData name="Singh, Shubhranshu (Nokia - DE/Munich)" userId="S::shubhranshu.singh@nokia-bell-labs.com::097f1207-65ae-4ec2-ab78-00d0c1d73a58" providerId="AD" clId="Web-{C91F7D75-7695-1CBC-0BBF-FC36ECFA9F5F}" dt="2022-06-12T11:58:18.110" v="7" actId="20577"/>
      <pc:docMkLst>
        <pc:docMk/>
      </pc:docMkLst>
      <pc:sldChg chg="modSp">
        <pc:chgData name="Singh, Shubhranshu (Nokia - DE/Munich)" userId="S::shubhranshu.singh@nokia-bell-labs.com::097f1207-65ae-4ec2-ab78-00d0c1d73a58" providerId="AD" clId="Web-{C91F7D75-7695-1CBC-0BBF-FC36ECFA9F5F}" dt="2022-06-12T11:58:18.110" v="7" actId="20577"/>
        <pc:sldMkLst>
          <pc:docMk/>
          <pc:sldMk cId="477553370" sldId="2146846815"/>
        </pc:sldMkLst>
        <pc:spChg chg="mod">
          <ac:chgData name="Singh, Shubhranshu (Nokia - DE/Munich)" userId="S::shubhranshu.singh@nokia-bell-labs.com::097f1207-65ae-4ec2-ab78-00d0c1d73a58" providerId="AD" clId="Web-{C91F7D75-7695-1CBC-0BBF-FC36ECFA9F5F}" dt="2022-06-12T11:58:18.110" v="7" actId="20577"/>
          <ac:spMkLst>
            <pc:docMk/>
            <pc:sldMk cId="477553370" sldId="2146846815"/>
            <ac:spMk id="4" creationId="{CD72C33D-DF40-4601-AF02-8DFD5A6EA958}"/>
          </ac:spMkLst>
        </pc:spChg>
      </pc:sldChg>
    </pc:docChg>
  </pc:docChgLst>
  <pc:docChgLst>
    <pc:chgData name="Goldberg, Martin (Nokia - DE/Ulm)" userId="S::martin.goldberg@nokia.com::04005dc0-36a1-4b1f-830f-c2959111ced4" providerId="AD" clId="Web-{2B86CC7D-2187-4C01-8664-BC037179FED8}"/>
    <pc:docChg chg="modSld">
      <pc:chgData name="Goldberg, Martin (Nokia - DE/Ulm)" userId="S::martin.goldberg@nokia.com::04005dc0-36a1-4b1f-830f-c2959111ced4" providerId="AD" clId="Web-{2B86CC7D-2187-4C01-8664-BC037179FED8}" dt="2022-05-31T04:45:20.435" v="0" actId="1076"/>
      <pc:docMkLst>
        <pc:docMk/>
      </pc:docMkLst>
      <pc:sldChg chg="modSp">
        <pc:chgData name="Goldberg, Martin (Nokia - DE/Ulm)" userId="S::martin.goldberg@nokia.com::04005dc0-36a1-4b1f-830f-c2959111ced4" providerId="AD" clId="Web-{2B86CC7D-2187-4C01-8664-BC037179FED8}" dt="2022-05-31T04:45:20.435" v="0" actId="1076"/>
        <pc:sldMkLst>
          <pc:docMk/>
          <pc:sldMk cId="2152723967" sldId="1099"/>
        </pc:sldMkLst>
        <pc:cxnChg chg="mod">
          <ac:chgData name="Goldberg, Martin (Nokia - DE/Ulm)" userId="S::martin.goldberg@nokia.com::04005dc0-36a1-4b1f-830f-c2959111ced4" providerId="AD" clId="Web-{2B86CC7D-2187-4C01-8664-BC037179FED8}" dt="2022-05-31T04:45:20.435" v="0" actId="1076"/>
          <ac:cxnSpMkLst>
            <pc:docMk/>
            <pc:sldMk cId="2152723967" sldId="1099"/>
            <ac:cxnSpMk id="3" creationId="{6DDFA1A3-294A-4406-990E-BE07D5E5A657}"/>
          </ac:cxnSpMkLst>
        </pc:cxnChg>
      </pc:sldChg>
    </pc:docChg>
  </pc:docChgLst>
  <pc:docChgLst>
    <pc:chgData name="Singh, Shubhranshu (Nokia - DE/Munich)" userId="097f1207-65ae-4ec2-ab78-00d0c1d73a58" providerId="ADAL" clId="{07EDAFA1-3F07-4C1C-BAC0-941469931F8C}"/>
    <pc:docChg chg="undo redo custSel addSld delSld modSld">
      <pc:chgData name="Singh, Shubhranshu (Nokia - DE/Munich)" userId="097f1207-65ae-4ec2-ab78-00d0c1d73a58" providerId="ADAL" clId="{07EDAFA1-3F07-4C1C-BAC0-941469931F8C}" dt="2022-06-12T21:23:58.395" v="551" actId="20577"/>
      <pc:docMkLst>
        <pc:docMk/>
      </pc:docMkLst>
      <pc:sldChg chg="addSp delSp modSp add del mod">
        <pc:chgData name="Singh, Shubhranshu (Nokia - DE/Munich)" userId="097f1207-65ae-4ec2-ab78-00d0c1d73a58" providerId="ADAL" clId="{07EDAFA1-3F07-4C1C-BAC0-941469931F8C}" dt="2022-06-12T10:35:08.305" v="88" actId="2696"/>
        <pc:sldMkLst>
          <pc:docMk/>
          <pc:sldMk cId="0" sldId="363"/>
        </pc:sldMkLst>
        <pc:spChg chg="add del mod">
          <ac:chgData name="Singh, Shubhranshu (Nokia - DE/Munich)" userId="097f1207-65ae-4ec2-ab78-00d0c1d73a58" providerId="ADAL" clId="{07EDAFA1-3F07-4C1C-BAC0-941469931F8C}" dt="2022-06-12T10:34:46.311" v="82" actId="478"/>
          <ac:spMkLst>
            <pc:docMk/>
            <pc:sldMk cId="0" sldId="363"/>
            <ac:spMk id="5" creationId="{DDD7DB79-03CB-4A59-8487-72A6D95A4826}"/>
          </ac:spMkLst>
        </pc:spChg>
        <pc:spChg chg="mod">
          <ac:chgData name="Singh, Shubhranshu (Nokia - DE/Munich)" userId="097f1207-65ae-4ec2-ab78-00d0c1d73a58" providerId="ADAL" clId="{07EDAFA1-3F07-4C1C-BAC0-941469931F8C}" dt="2022-06-12T10:35:03.582" v="87" actId="120"/>
          <ac:spMkLst>
            <pc:docMk/>
            <pc:sldMk cId="0" sldId="363"/>
            <ac:spMk id="6146" creationId="{39BD4D34-87E7-4105-B586-4767AFA2F0F4}"/>
          </ac:spMkLst>
        </pc:spChg>
        <pc:graphicFrameChg chg="mod">
          <ac:chgData name="Singh, Shubhranshu (Nokia - DE/Munich)" userId="097f1207-65ae-4ec2-ab78-00d0c1d73a58" providerId="ADAL" clId="{07EDAFA1-3F07-4C1C-BAC0-941469931F8C}" dt="2022-06-12T10:34:43.129" v="80" actId="1076"/>
          <ac:graphicFrameMkLst>
            <pc:docMk/>
            <pc:sldMk cId="0" sldId="363"/>
            <ac:graphicFrameMk id="4" creationId="{542FBB54-B6B3-47FA-AF8E-F1894DC52459}"/>
          </ac:graphicFrameMkLst>
        </pc:graphicFrameChg>
      </pc:sldChg>
      <pc:sldChg chg="addSp modSp add mod">
        <pc:chgData name="Singh, Shubhranshu (Nokia - DE/Munich)" userId="097f1207-65ae-4ec2-ab78-00d0c1d73a58" providerId="ADAL" clId="{07EDAFA1-3F07-4C1C-BAC0-941469931F8C}" dt="2022-06-12T10:43:23.319" v="351" actId="1076"/>
        <pc:sldMkLst>
          <pc:docMk/>
          <pc:sldMk cId="1677898181" sldId="366"/>
        </pc:sldMkLst>
        <pc:spChg chg="add mod">
          <ac:chgData name="Singh, Shubhranshu (Nokia - DE/Munich)" userId="097f1207-65ae-4ec2-ab78-00d0c1d73a58" providerId="ADAL" clId="{07EDAFA1-3F07-4C1C-BAC0-941469931F8C}" dt="2022-06-12T10:43:20.716" v="350" actId="1076"/>
          <ac:spMkLst>
            <pc:docMk/>
            <pc:sldMk cId="1677898181" sldId="366"/>
            <ac:spMk id="4" creationId="{6A18F74C-AD91-401D-AED3-55BECAC0BAC3}"/>
          </ac:spMkLst>
        </pc:spChg>
        <pc:spChg chg="mod">
          <ac:chgData name="Singh, Shubhranshu (Nokia - DE/Munich)" userId="097f1207-65ae-4ec2-ab78-00d0c1d73a58" providerId="ADAL" clId="{07EDAFA1-3F07-4C1C-BAC0-941469931F8C}" dt="2022-06-12T10:43:10.989" v="348" actId="21"/>
          <ac:spMkLst>
            <pc:docMk/>
            <pc:sldMk cId="1677898181" sldId="366"/>
            <ac:spMk id="6146" creationId="{39BD4D34-87E7-4105-B586-4767AFA2F0F4}"/>
          </ac:spMkLst>
        </pc:spChg>
        <pc:spChg chg="mod">
          <ac:chgData name="Singh, Shubhranshu (Nokia - DE/Munich)" userId="097f1207-65ae-4ec2-ab78-00d0c1d73a58" providerId="ADAL" clId="{07EDAFA1-3F07-4C1C-BAC0-941469931F8C}" dt="2022-06-12T10:43:23.319" v="351" actId="1076"/>
          <ac:spMkLst>
            <pc:docMk/>
            <pc:sldMk cId="1677898181" sldId="366"/>
            <ac:spMk id="6147" creationId="{33CFEE74-7B51-47B2-8BC9-945D38E983E7}"/>
          </ac:spMkLst>
        </pc:spChg>
      </pc:sldChg>
      <pc:sldChg chg="addSp modSp add mod">
        <pc:chgData name="Singh, Shubhranshu (Nokia - DE/Munich)" userId="097f1207-65ae-4ec2-ab78-00d0c1d73a58" providerId="ADAL" clId="{07EDAFA1-3F07-4C1C-BAC0-941469931F8C}" dt="2022-06-12T10:43:35.345" v="353"/>
        <pc:sldMkLst>
          <pc:docMk/>
          <pc:sldMk cId="3518372756" sldId="368"/>
        </pc:sldMkLst>
        <pc:spChg chg="add mod">
          <ac:chgData name="Singh, Shubhranshu (Nokia - DE/Munich)" userId="097f1207-65ae-4ec2-ab78-00d0c1d73a58" providerId="ADAL" clId="{07EDAFA1-3F07-4C1C-BAC0-941469931F8C}" dt="2022-06-12T10:43:35.345" v="353"/>
          <ac:spMkLst>
            <pc:docMk/>
            <pc:sldMk cId="3518372756" sldId="368"/>
            <ac:spMk id="4" creationId="{973DE11A-5DF0-4F85-B13C-5B39C856BC27}"/>
          </ac:spMkLst>
        </pc:spChg>
        <pc:spChg chg="mod">
          <ac:chgData name="Singh, Shubhranshu (Nokia - DE/Munich)" userId="097f1207-65ae-4ec2-ab78-00d0c1d73a58" providerId="ADAL" clId="{07EDAFA1-3F07-4C1C-BAC0-941469931F8C}" dt="2022-06-12T10:43:29.499" v="352" actId="6549"/>
          <ac:spMkLst>
            <pc:docMk/>
            <pc:sldMk cId="3518372756" sldId="368"/>
            <ac:spMk id="6146" creationId="{39BD4D34-87E7-4105-B586-4767AFA2F0F4}"/>
          </ac:spMkLst>
        </pc:spChg>
      </pc:sldChg>
      <pc:sldChg chg="modSp add mod">
        <pc:chgData name="Singh, Shubhranshu (Nokia - DE/Munich)" userId="097f1207-65ae-4ec2-ab78-00d0c1d73a58" providerId="ADAL" clId="{07EDAFA1-3F07-4C1C-BAC0-941469931F8C}" dt="2022-06-12T10:44:16.259" v="377" actId="20577"/>
        <pc:sldMkLst>
          <pc:docMk/>
          <pc:sldMk cId="2356928305" sldId="369"/>
        </pc:sldMkLst>
        <pc:spChg chg="mod">
          <ac:chgData name="Singh, Shubhranshu (Nokia - DE/Munich)" userId="097f1207-65ae-4ec2-ab78-00d0c1d73a58" providerId="ADAL" clId="{07EDAFA1-3F07-4C1C-BAC0-941469931F8C}" dt="2022-06-12T10:44:16.259" v="377" actId="20577"/>
          <ac:spMkLst>
            <pc:docMk/>
            <pc:sldMk cId="2356928305" sldId="369"/>
            <ac:spMk id="6146" creationId="{39BD4D34-87E7-4105-B586-4767AFA2F0F4}"/>
          </ac:spMkLst>
        </pc:spChg>
      </pc:sldChg>
      <pc:sldChg chg="modSp add mod">
        <pc:chgData name="Singh, Shubhranshu (Nokia - DE/Munich)" userId="097f1207-65ae-4ec2-ab78-00d0c1d73a58" providerId="ADAL" clId="{07EDAFA1-3F07-4C1C-BAC0-941469931F8C}" dt="2022-06-12T10:44:48.655" v="411" actId="20577"/>
        <pc:sldMkLst>
          <pc:docMk/>
          <pc:sldMk cId="1364944823" sldId="371"/>
        </pc:sldMkLst>
        <pc:spChg chg="mod">
          <ac:chgData name="Singh, Shubhranshu (Nokia - DE/Munich)" userId="097f1207-65ae-4ec2-ab78-00d0c1d73a58" providerId="ADAL" clId="{07EDAFA1-3F07-4C1C-BAC0-941469931F8C}" dt="2022-06-12T10:44:48.655" v="411" actId="20577"/>
          <ac:spMkLst>
            <pc:docMk/>
            <pc:sldMk cId="1364944823" sldId="371"/>
            <ac:spMk id="6146" creationId="{39BD4D34-87E7-4105-B586-4767AFA2F0F4}"/>
          </ac:spMkLst>
        </pc:spChg>
      </pc:sldChg>
      <pc:sldChg chg="modSp add mod">
        <pc:chgData name="Singh, Shubhranshu (Nokia - DE/Munich)" userId="097f1207-65ae-4ec2-ab78-00d0c1d73a58" providerId="ADAL" clId="{07EDAFA1-3F07-4C1C-BAC0-941469931F8C}" dt="2022-06-12T10:45:45.739" v="490" actId="1076"/>
        <pc:sldMkLst>
          <pc:docMk/>
          <pc:sldMk cId="1671978899" sldId="372"/>
        </pc:sldMkLst>
        <pc:spChg chg="mod">
          <ac:chgData name="Singh, Shubhranshu (Nokia - DE/Munich)" userId="097f1207-65ae-4ec2-ab78-00d0c1d73a58" providerId="ADAL" clId="{07EDAFA1-3F07-4C1C-BAC0-941469931F8C}" dt="2022-06-12T10:45:41.310" v="488" actId="14100"/>
          <ac:spMkLst>
            <pc:docMk/>
            <pc:sldMk cId="1671978899" sldId="372"/>
            <ac:spMk id="7" creationId="{831BB483-1EE4-499F-90C9-A7468D859B15}"/>
          </ac:spMkLst>
        </pc:spChg>
        <pc:spChg chg="mod">
          <ac:chgData name="Singh, Shubhranshu (Nokia - DE/Munich)" userId="097f1207-65ae-4ec2-ab78-00d0c1d73a58" providerId="ADAL" clId="{07EDAFA1-3F07-4C1C-BAC0-941469931F8C}" dt="2022-06-12T10:45:00.439" v="446" actId="20577"/>
          <ac:spMkLst>
            <pc:docMk/>
            <pc:sldMk cId="1671978899" sldId="372"/>
            <ac:spMk id="6146" creationId="{39BD4D34-87E7-4105-B586-4767AFA2F0F4}"/>
          </ac:spMkLst>
        </pc:spChg>
        <pc:spChg chg="mod">
          <ac:chgData name="Singh, Shubhranshu (Nokia - DE/Munich)" userId="097f1207-65ae-4ec2-ab78-00d0c1d73a58" providerId="ADAL" clId="{07EDAFA1-3F07-4C1C-BAC0-941469931F8C}" dt="2022-06-12T10:45:34.263" v="485" actId="1076"/>
          <ac:spMkLst>
            <pc:docMk/>
            <pc:sldMk cId="1671978899" sldId="372"/>
            <ac:spMk id="6147" creationId="{33CFEE74-7B51-47B2-8BC9-945D38E983E7}"/>
          </ac:spMkLst>
        </pc:spChg>
        <pc:graphicFrameChg chg="mod">
          <ac:chgData name="Singh, Shubhranshu (Nokia - DE/Munich)" userId="097f1207-65ae-4ec2-ab78-00d0c1d73a58" providerId="ADAL" clId="{07EDAFA1-3F07-4C1C-BAC0-941469931F8C}" dt="2022-06-12T10:45:45.739" v="490" actId="1076"/>
          <ac:graphicFrameMkLst>
            <pc:docMk/>
            <pc:sldMk cId="1671978899" sldId="372"/>
            <ac:graphicFrameMk id="3" creationId="{5F92BCCD-E6C8-4AF6-A44E-13202386243D}"/>
          </ac:graphicFrameMkLst>
        </pc:graphicFrameChg>
        <pc:graphicFrameChg chg="mod">
          <ac:chgData name="Singh, Shubhranshu (Nokia - DE/Munich)" userId="097f1207-65ae-4ec2-ab78-00d0c1d73a58" providerId="ADAL" clId="{07EDAFA1-3F07-4C1C-BAC0-941469931F8C}" dt="2022-06-12T10:45:43.422" v="489" actId="1076"/>
          <ac:graphicFrameMkLst>
            <pc:docMk/>
            <pc:sldMk cId="1671978899" sldId="372"/>
            <ac:graphicFrameMk id="6" creationId="{17C913C9-43B2-4F61-A7BE-3260667D3B02}"/>
          </ac:graphicFrameMkLst>
        </pc:graphicFrameChg>
      </pc:sldChg>
      <pc:sldChg chg="modSp add mod">
        <pc:chgData name="Singh, Shubhranshu (Nokia - DE/Munich)" userId="097f1207-65ae-4ec2-ab78-00d0c1d73a58" providerId="ADAL" clId="{07EDAFA1-3F07-4C1C-BAC0-941469931F8C}" dt="2022-06-12T10:45:26.430" v="482" actId="14100"/>
        <pc:sldMkLst>
          <pc:docMk/>
          <pc:sldMk cId="1793989482" sldId="373"/>
        </pc:sldMkLst>
        <pc:spChg chg="mod">
          <ac:chgData name="Singh, Shubhranshu (Nokia - DE/Munich)" userId="097f1207-65ae-4ec2-ab78-00d0c1d73a58" providerId="ADAL" clId="{07EDAFA1-3F07-4C1C-BAC0-941469931F8C}" dt="2022-06-12T10:45:15.649" v="477" actId="20577"/>
          <ac:spMkLst>
            <pc:docMk/>
            <pc:sldMk cId="1793989482" sldId="373"/>
            <ac:spMk id="6146" creationId="{39BD4D34-87E7-4105-B586-4767AFA2F0F4}"/>
          </ac:spMkLst>
        </pc:spChg>
        <pc:spChg chg="mod">
          <ac:chgData name="Singh, Shubhranshu (Nokia - DE/Munich)" userId="097f1207-65ae-4ec2-ab78-00d0c1d73a58" providerId="ADAL" clId="{07EDAFA1-3F07-4C1C-BAC0-941469931F8C}" dt="2022-06-12T10:45:26.430" v="482" actId="14100"/>
          <ac:spMkLst>
            <pc:docMk/>
            <pc:sldMk cId="1793989482" sldId="373"/>
            <ac:spMk id="6147" creationId="{33CFEE74-7B51-47B2-8BC9-945D38E983E7}"/>
          </ac:spMkLst>
        </pc:spChg>
      </pc:sldChg>
      <pc:sldChg chg="modSp mod">
        <pc:chgData name="Singh, Shubhranshu (Nokia - DE/Munich)" userId="097f1207-65ae-4ec2-ab78-00d0c1d73a58" providerId="ADAL" clId="{07EDAFA1-3F07-4C1C-BAC0-941469931F8C}" dt="2022-06-12T10:12:30.978" v="1" actId="20577"/>
        <pc:sldMkLst>
          <pc:docMk/>
          <pc:sldMk cId="477553370" sldId="2146846815"/>
        </pc:sldMkLst>
        <pc:spChg chg="mod">
          <ac:chgData name="Singh, Shubhranshu (Nokia - DE/Munich)" userId="097f1207-65ae-4ec2-ab78-00d0c1d73a58" providerId="ADAL" clId="{07EDAFA1-3F07-4C1C-BAC0-941469931F8C}" dt="2022-06-12T10:12:30.978" v="1" actId="20577"/>
          <ac:spMkLst>
            <pc:docMk/>
            <pc:sldMk cId="477553370" sldId="2146846815"/>
            <ac:spMk id="4" creationId="{CD72C33D-DF40-4601-AF02-8DFD5A6EA958}"/>
          </ac:spMkLst>
        </pc:spChg>
      </pc:sldChg>
      <pc:sldChg chg="del">
        <pc:chgData name="Singh, Shubhranshu (Nokia - DE/Munich)" userId="097f1207-65ae-4ec2-ab78-00d0c1d73a58" providerId="ADAL" clId="{07EDAFA1-3F07-4C1C-BAC0-941469931F8C}" dt="2022-06-12T10:17:37.161" v="33" actId="47"/>
        <pc:sldMkLst>
          <pc:docMk/>
          <pc:sldMk cId="2280338077" sldId="2146846816"/>
        </pc:sldMkLst>
      </pc:sldChg>
      <pc:sldChg chg="modSp add mod">
        <pc:chgData name="Singh, Shubhranshu (Nokia - DE/Munich)" userId="097f1207-65ae-4ec2-ab78-00d0c1d73a58" providerId="ADAL" clId="{07EDAFA1-3F07-4C1C-BAC0-941469931F8C}" dt="2022-06-12T10:16:27.926" v="30" actId="20577"/>
        <pc:sldMkLst>
          <pc:docMk/>
          <pc:sldMk cId="3623683343" sldId="2146846827"/>
        </pc:sldMkLst>
        <pc:spChg chg="mod">
          <ac:chgData name="Singh, Shubhranshu (Nokia - DE/Munich)" userId="097f1207-65ae-4ec2-ab78-00d0c1d73a58" providerId="ADAL" clId="{07EDAFA1-3F07-4C1C-BAC0-941469931F8C}" dt="2022-06-12T10:16:27.926" v="30" actId="20577"/>
          <ac:spMkLst>
            <pc:docMk/>
            <pc:sldMk cId="3623683343" sldId="2146846827"/>
            <ac:spMk id="4" creationId="{CD72C33D-DF40-4601-AF02-8DFD5A6EA958}"/>
          </ac:spMkLst>
        </pc:spChg>
      </pc:sldChg>
      <pc:sldChg chg="modSp mod">
        <pc:chgData name="Singh, Shubhranshu (Nokia - DE/Munich)" userId="097f1207-65ae-4ec2-ab78-00d0c1d73a58" providerId="ADAL" clId="{07EDAFA1-3F07-4C1C-BAC0-941469931F8C}" dt="2022-06-12T10:12:35.743" v="2" actId="20577"/>
        <pc:sldMkLst>
          <pc:docMk/>
          <pc:sldMk cId="1350432651" sldId="2146846885"/>
        </pc:sldMkLst>
        <pc:spChg chg="mod">
          <ac:chgData name="Singh, Shubhranshu (Nokia - DE/Munich)" userId="097f1207-65ae-4ec2-ab78-00d0c1d73a58" providerId="ADAL" clId="{07EDAFA1-3F07-4C1C-BAC0-941469931F8C}" dt="2022-06-12T10:12:35.743" v="2" actId="20577"/>
          <ac:spMkLst>
            <pc:docMk/>
            <pc:sldMk cId="1350432651" sldId="2146846885"/>
            <ac:spMk id="4" creationId="{CD72C33D-DF40-4601-AF02-8DFD5A6EA958}"/>
          </ac:spMkLst>
        </pc:spChg>
      </pc:sldChg>
      <pc:sldChg chg="del">
        <pc:chgData name="Singh, Shubhranshu (Nokia - DE/Munich)" userId="097f1207-65ae-4ec2-ab78-00d0c1d73a58" providerId="ADAL" clId="{07EDAFA1-3F07-4C1C-BAC0-941469931F8C}" dt="2022-06-12T10:17:30.232" v="31" actId="47"/>
        <pc:sldMkLst>
          <pc:docMk/>
          <pc:sldMk cId="4263948022" sldId="2146846886"/>
        </pc:sldMkLst>
      </pc:sldChg>
      <pc:sldChg chg="del">
        <pc:chgData name="Singh, Shubhranshu (Nokia - DE/Munich)" userId="097f1207-65ae-4ec2-ab78-00d0c1d73a58" providerId="ADAL" clId="{07EDAFA1-3F07-4C1C-BAC0-941469931F8C}" dt="2022-06-12T10:17:35.125" v="32" actId="47"/>
        <pc:sldMkLst>
          <pc:docMk/>
          <pc:sldMk cId="1781349773" sldId="2146846887"/>
        </pc:sldMkLst>
      </pc:sldChg>
      <pc:sldChg chg="modSp add mod">
        <pc:chgData name="Singh, Shubhranshu (Nokia - DE/Munich)" userId="097f1207-65ae-4ec2-ab78-00d0c1d73a58" providerId="ADAL" clId="{07EDAFA1-3F07-4C1C-BAC0-941469931F8C}" dt="2022-06-12T10:13:15.267" v="7" actId="20577"/>
        <pc:sldMkLst>
          <pc:docMk/>
          <pc:sldMk cId="2876438702" sldId="2146846888"/>
        </pc:sldMkLst>
        <pc:spChg chg="mod">
          <ac:chgData name="Singh, Shubhranshu (Nokia - DE/Munich)" userId="097f1207-65ae-4ec2-ab78-00d0c1d73a58" providerId="ADAL" clId="{07EDAFA1-3F07-4C1C-BAC0-941469931F8C}" dt="2022-06-12T10:13:15.267" v="7" actId="20577"/>
          <ac:spMkLst>
            <pc:docMk/>
            <pc:sldMk cId="2876438702" sldId="2146846888"/>
            <ac:spMk id="4" creationId="{CD72C33D-DF40-4601-AF02-8DFD5A6EA958}"/>
          </ac:spMkLst>
        </pc:spChg>
      </pc:sldChg>
      <pc:sldChg chg="modSp add mod">
        <pc:chgData name="Singh, Shubhranshu (Nokia - DE/Munich)" userId="097f1207-65ae-4ec2-ab78-00d0c1d73a58" providerId="ADAL" clId="{07EDAFA1-3F07-4C1C-BAC0-941469931F8C}" dt="2022-06-12T10:14:46.607" v="10" actId="20577"/>
        <pc:sldMkLst>
          <pc:docMk/>
          <pc:sldMk cId="2532374580" sldId="2146846889"/>
        </pc:sldMkLst>
        <pc:spChg chg="mod">
          <ac:chgData name="Singh, Shubhranshu (Nokia - DE/Munich)" userId="097f1207-65ae-4ec2-ab78-00d0c1d73a58" providerId="ADAL" clId="{07EDAFA1-3F07-4C1C-BAC0-941469931F8C}" dt="2022-06-12T10:14:46.607" v="10" actId="20577"/>
          <ac:spMkLst>
            <pc:docMk/>
            <pc:sldMk cId="2532374580" sldId="2146846889"/>
            <ac:spMk id="4" creationId="{CD72C33D-DF40-4601-AF02-8DFD5A6EA958}"/>
          </ac:spMkLst>
        </pc:spChg>
      </pc:sldChg>
      <pc:sldChg chg="modSp add mod">
        <pc:chgData name="Singh, Shubhranshu (Nokia - DE/Munich)" userId="097f1207-65ae-4ec2-ab78-00d0c1d73a58" providerId="ADAL" clId="{07EDAFA1-3F07-4C1C-BAC0-941469931F8C}" dt="2022-06-12T10:15:18.559" v="24" actId="6549"/>
        <pc:sldMkLst>
          <pc:docMk/>
          <pc:sldMk cId="1878412035" sldId="2146846890"/>
        </pc:sldMkLst>
        <pc:spChg chg="mod">
          <ac:chgData name="Singh, Shubhranshu (Nokia - DE/Munich)" userId="097f1207-65ae-4ec2-ab78-00d0c1d73a58" providerId="ADAL" clId="{07EDAFA1-3F07-4C1C-BAC0-941469931F8C}" dt="2022-06-12T10:15:18.559" v="24" actId="6549"/>
          <ac:spMkLst>
            <pc:docMk/>
            <pc:sldMk cId="1878412035" sldId="2146846890"/>
            <ac:spMk id="4" creationId="{CD72C33D-DF40-4601-AF02-8DFD5A6EA958}"/>
          </ac:spMkLst>
        </pc:spChg>
      </pc:sldChg>
      <pc:sldChg chg="modSp add mod">
        <pc:chgData name="Singh, Shubhranshu (Nokia - DE/Munich)" userId="097f1207-65ae-4ec2-ab78-00d0c1d73a58" providerId="ADAL" clId="{07EDAFA1-3F07-4C1C-BAC0-941469931F8C}" dt="2022-06-12T10:15:44.541" v="27" actId="20577"/>
        <pc:sldMkLst>
          <pc:docMk/>
          <pc:sldMk cId="1569506345" sldId="2146846891"/>
        </pc:sldMkLst>
        <pc:spChg chg="mod">
          <ac:chgData name="Singh, Shubhranshu (Nokia - DE/Munich)" userId="097f1207-65ae-4ec2-ab78-00d0c1d73a58" providerId="ADAL" clId="{07EDAFA1-3F07-4C1C-BAC0-941469931F8C}" dt="2022-06-12T10:15:44.541" v="27" actId="20577"/>
          <ac:spMkLst>
            <pc:docMk/>
            <pc:sldMk cId="1569506345" sldId="2146846891"/>
            <ac:spMk id="4" creationId="{CD72C33D-DF40-4601-AF02-8DFD5A6EA958}"/>
          </ac:spMkLst>
        </pc:spChg>
      </pc:sldChg>
      <pc:sldChg chg="addSp delSp modSp add mod">
        <pc:chgData name="Singh, Shubhranshu (Nokia - DE/Munich)" userId="097f1207-65ae-4ec2-ab78-00d0c1d73a58" providerId="ADAL" clId="{07EDAFA1-3F07-4C1C-BAC0-941469931F8C}" dt="2022-06-12T10:40:56.265" v="286" actId="20577"/>
        <pc:sldMkLst>
          <pc:docMk/>
          <pc:sldMk cId="3855098636" sldId="2146846892"/>
        </pc:sldMkLst>
        <pc:spChg chg="add del mod">
          <ac:chgData name="Singh, Shubhranshu (Nokia - DE/Munich)" userId="097f1207-65ae-4ec2-ab78-00d0c1d73a58" providerId="ADAL" clId="{07EDAFA1-3F07-4C1C-BAC0-941469931F8C}" dt="2022-06-12T10:35:51.287" v="92" actId="478"/>
          <ac:spMkLst>
            <pc:docMk/>
            <pc:sldMk cId="3855098636" sldId="2146846892"/>
            <ac:spMk id="3" creationId="{9E0F351D-B6E9-4901-B434-DBFABB4E8767}"/>
          </ac:spMkLst>
        </pc:spChg>
        <pc:spChg chg="add mod">
          <ac:chgData name="Singh, Shubhranshu (Nokia - DE/Munich)" userId="097f1207-65ae-4ec2-ab78-00d0c1d73a58" providerId="ADAL" clId="{07EDAFA1-3F07-4C1C-BAC0-941469931F8C}" dt="2022-06-12T10:40:56.265" v="286" actId="20577"/>
          <ac:spMkLst>
            <pc:docMk/>
            <pc:sldMk cId="3855098636" sldId="2146846892"/>
            <ac:spMk id="9" creationId="{3E60BB1F-AF44-4664-8CEC-F2FE76B9C832}"/>
          </ac:spMkLst>
        </pc:spChg>
        <pc:spChg chg="mod">
          <ac:chgData name="Singh, Shubhranshu (Nokia - DE/Munich)" userId="097f1207-65ae-4ec2-ab78-00d0c1d73a58" providerId="ADAL" clId="{07EDAFA1-3F07-4C1C-BAC0-941469931F8C}" dt="2022-06-12T10:40:19.204" v="261" actId="14100"/>
          <ac:spMkLst>
            <pc:docMk/>
            <pc:sldMk cId="3855098636" sldId="2146846892"/>
            <ac:spMk id="29698" creationId="{00000000-0000-0000-0000-000000000000}"/>
          </ac:spMkLst>
        </pc:spChg>
        <pc:spChg chg="del">
          <ac:chgData name="Singh, Shubhranshu (Nokia - DE/Munich)" userId="097f1207-65ae-4ec2-ab78-00d0c1d73a58" providerId="ADAL" clId="{07EDAFA1-3F07-4C1C-BAC0-941469931F8C}" dt="2022-06-12T10:35:48.700" v="91" actId="478"/>
          <ac:spMkLst>
            <pc:docMk/>
            <pc:sldMk cId="3855098636" sldId="2146846892"/>
            <ac:spMk id="29716" creationId="{00000000-0000-0000-0000-000000000000}"/>
          </ac:spMkLst>
        </pc:spChg>
        <pc:graphicFrameChg chg="del">
          <ac:chgData name="Singh, Shubhranshu (Nokia - DE/Munich)" userId="097f1207-65ae-4ec2-ab78-00d0c1d73a58" providerId="ADAL" clId="{07EDAFA1-3F07-4C1C-BAC0-941469931F8C}" dt="2022-06-12T10:35:45.780" v="90" actId="478"/>
          <ac:graphicFrameMkLst>
            <pc:docMk/>
            <pc:sldMk cId="3855098636" sldId="2146846892"/>
            <ac:graphicFrameMk id="6" creationId="{00000000-0000-0000-0000-000000000000}"/>
          </ac:graphicFrameMkLst>
        </pc:graphicFrameChg>
        <pc:graphicFrameChg chg="add del mod">
          <ac:chgData name="Singh, Shubhranshu (Nokia - DE/Munich)" userId="097f1207-65ae-4ec2-ab78-00d0c1d73a58" providerId="ADAL" clId="{07EDAFA1-3F07-4C1C-BAC0-941469931F8C}" dt="2022-06-12T10:36:26.774" v="109"/>
          <ac:graphicFrameMkLst>
            <pc:docMk/>
            <pc:sldMk cId="3855098636" sldId="2146846892"/>
            <ac:graphicFrameMk id="7" creationId="{2067ED4E-7B0E-495D-BD22-E9A3DFD31006}"/>
          </ac:graphicFrameMkLst>
        </pc:graphicFrameChg>
        <pc:graphicFrameChg chg="add mod modGraphic">
          <ac:chgData name="Singh, Shubhranshu (Nokia - DE/Munich)" userId="097f1207-65ae-4ec2-ab78-00d0c1d73a58" providerId="ADAL" clId="{07EDAFA1-3F07-4C1C-BAC0-941469931F8C}" dt="2022-06-12T10:40:25.674" v="268" actId="1035"/>
          <ac:graphicFrameMkLst>
            <pc:docMk/>
            <pc:sldMk cId="3855098636" sldId="2146846892"/>
            <ac:graphicFrameMk id="8" creationId="{B1057381-7A7D-43B0-B0C6-816801715E2D}"/>
          </ac:graphicFrameMkLst>
        </pc:graphicFrameChg>
      </pc:sldChg>
      <pc:sldChg chg="addSp delSp modSp add mod">
        <pc:chgData name="Singh, Shubhranshu (Nokia - DE/Munich)" userId="097f1207-65ae-4ec2-ab78-00d0c1d73a58" providerId="ADAL" clId="{07EDAFA1-3F07-4C1C-BAC0-941469931F8C}" dt="2022-06-12T10:46:37.768" v="493" actId="478"/>
        <pc:sldMkLst>
          <pc:docMk/>
          <pc:sldMk cId="559695088" sldId="2146846893"/>
        </pc:sldMkLst>
        <pc:spChg chg="add del mod">
          <ac:chgData name="Singh, Shubhranshu (Nokia - DE/Munich)" userId="097f1207-65ae-4ec2-ab78-00d0c1d73a58" providerId="ADAL" clId="{07EDAFA1-3F07-4C1C-BAC0-941469931F8C}" dt="2022-06-12T10:46:37.768" v="493" actId="478"/>
          <ac:spMkLst>
            <pc:docMk/>
            <pc:sldMk cId="559695088" sldId="2146846893"/>
            <ac:spMk id="3" creationId="{B40FD264-CF9B-4CA7-8C7F-0C9022F28E8B}"/>
          </ac:spMkLst>
        </pc:spChg>
        <pc:spChg chg="add del">
          <ac:chgData name="Singh, Shubhranshu (Nokia - DE/Munich)" userId="097f1207-65ae-4ec2-ab78-00d0c1d73a58" providerId="ADAL" clId="{07EDAFA1-3F07-4C1C-BAC0-941469931F8C}" dt="2022-06-12T10:46:37.768" v="493" actId="478"/>
          <ac:spMkLst>
            <pc:docMk/>
            <pc:sldMk cId="559695088" sldId="2146846893"/>
            <ac:spMk id="6147" creationId="{33CFEE74-7B51-47B2-8BC9-945D38E983E7}"/>
          </ac:spMkLst>
        </pc:spChg>
      </pc:sldChg>
      <pc:sldChg chg="modSp add mod">
        <pc:chgData name="Singh, Shubhranshu (Nokia - DE/Munich)" userId="097f1207-65ae-4ec2-ab78-00d0c1d73a58" providerId="ADAL" clId="{07EDAFA1-3F07-4C1C-BAC0-941469931F8C}" dt="2022-06-12T10:55:49.315" v="498" actId="20577"/>
        <pc:sldMkLst>
          <pc:docMk/>
          <pc:sldMk cId="1106942563" sldId="2146846894"/>
        </pc:sldMkLst>
        <pc:spChg chg="mod">
          <ac:chgData name="Singh, Shubhranshu (Nokia - DE/Munich)" userId="097f1207-65ae-4ec2-ab78-00d0c1d73a58" providerId="ADAL" clId="{07EDAFA1-3F07-4C1C-BAC0-941469931F8C}" dt="2022-06-12T10:55:49.315" v="498" actId="20577"/>
          <ac:spMkLst>
            <pc:docMk/>
            <pc:sldMk cId="1106942563" sldId="2146846894"/>
            <ac:spMk id="4" creationId="{B91515A7-343D-47E8-82B8-D58ED83CD3B1}"/>
          </ac:spMkLst>
        </pc:spChg>
      </pc:sldChg>
      <pc:sldChg chg="modSp add mod">
        <pc:chgData name="Singh, Shubhranshu (Nokia - DE/Munich)" userId="097f1207-65ae-4ec2-ab78-00d0c1d73a58" providerId="ADAL" clId="{07EDAFA1-3F07-4C1C-BAC0-941469931F8C}" dt="2022-06-12T21:23:58.395" v="551" actId="20577"/>
        <pc:sldMkLst>
          <pc:docMk/>
          <pc:sldMk cId="3281427946" sldId="2146846895"/>
        </pc:sldMkLst>
        <pc:spChg chg="mod">
          <ac:chgData name="Singh, Shubhranshu (Nokia - DE/Munich)" userId="097f1207-65ae-4ec2-ab78-00d0c1d73a58" providerId="ADAL" clId="{07EDAFA1-3F07-4C1C-BAC0-941469931F8C}" dt="2022-06-12T21:23:58.395" v="551" actId="20577"/>
          <ac:spMkLst>
            <pc:docMk/>
            <pc:sldMk cId="3281427946" sldId="2146846895"/>
            <ac:spMk id="4" creationId="{CD72C33D-DF40-4601-AF02-8DFD5A6EA958}"/>
          </ac:spMkLst>
        </pc:spChg>
      </pc:sldChg>
    </pc:docChg>
  </pc:docChgLst>
  <pc:docChgLst>
    <pc:chgData name="Chandramouli, Devaki (Nokia - US/Dallas)" userId="S::devaki.chandramouli@nokia.com::ebf2a9f8-651b-4485-926f-9d93c0eafbc5" providerId="AD" clId="Web-{6867B7C3-19BB-ED57-A298-001DBD07A696}"/>
    <pc:docChg chg="addSld delSld modSld">
      <pc:chgData name="Chandramouli, Devaki (Nokia - US/Dallas)" userId="S::devaki.chandramouli@nokia.com::ebf2a9f8-651b-4485-926f-9d93c0eafbc5" providerId="AD" clId="Web-{6867B7C3-19BB-ED57-A298-001DBD07A696}" dt="2022-03-03T01:12:27.484" v="45"/>
      <pc:docMkLst>
        <pc:docMk/>
      </pc:docMkLst>
      <pc:sldChg chg="modSp">
        <pc:chgData name="Chandramouli, Devaki (Nokia - US/Dallas)" userId="S::devaki.chandramouli@nokia.com::ebf2a9f8-651b-4485-926f-9d93c0eafbc5" providerId="AD" clId="Web-{6867B7C3-19BB-ED57-A298-001DBD07A696}" dt="2022-03-03T01:10:11.055" v="9" actId="20577"/>
        <pc:sldMkLst>
          <pc:docMk/>
          <pc:sldMk cId="2165169509" sldId="258"/>
        </pc:sldMkLst>
        <pc:spChg chg="mod">
          <ac:chgData name="Chandramouli, Devaki (Nokia - US/Dallas)" userId="S::devaki.chandramouli@nokia.com::ebf2a9f8-651b-4485-926f-9d93c0eafbc5" providerId="AD" clId="Web-{6867B7C3-19BB-ED57-A298-001DBD07A696}" dt="2022-03-03T01:09:03.411" v="2" actId="20577"/>
          <ac:spMkLst>
            <pc:docMk/>
            <pc:sldMk cId="2165169509" sldId="258"/>
            <ac:spMk id="2" creationId="{673AE4A4-F521-4B46-BB77-BDFFF6278B02}"/>
          </ac:spMkLst>
        </pc:spChg>
        <pc:spChg chg="mod">
          <ac:chgData name="Chandramouli, Devaki (Nokia - US/Dallas)" userId="S::devaki.chandramouli@nokia.com::ebf2a9f8-651b-4485-926f-9d93c0eafbc5" providerId="AD" clId="Web-{6867B7C3-19BB-ED57-A298-001DBD07A696}" dt="2022-03-03T01:10:11.055" v="9" actId="20577"/>
          <ac:spMkLst>
            <pc:docMk/>
            <pc:sldMk cId="2165169509" sldId="258"/>
            <ac:spMk id="3" creationId="{A4E748F3-52F3-4227-86AD-9C50826A6263}"/>
          </ac:spMkLst>
        </pc:spChg>
      </pc:sldChg>
      <pc:sldChg chg="modSp">
        <pc:chgData name="Chandramouli, Devaki (Nokia - US/Dallas)" userId="S::devaki.chandramouli@nokia.com::ebf2a9f8-651b-4485-926f-9d93c0eafbc5" providerId="AD" clId="Web-{6867B7C3-19BB-ED57-A298-001DBD07A696}" dt="2022-03-03T01:11:17.965" v="43" actId="20577"/>
        <pc:sldMkLst>
          <pc:docMk/>
          <pc:sldMk cId="3870285730" sldId="319"/>
        </pc:sldMkLst>
        <pc:spChg chg="mod">
          <ac:chgData name="Chandramouli, Devaki (Nokia - US/Dallas)" userId="S::devaki.chandramouli@nokia.com::ebf2a9f8-651b-4485-926f-9d93c0eafbc5" providerId="AD" clId="Web-{6867B7C3-19BB-ED57-A298-001DBD07A696}" dt="2022-03-03T01:11:17.965" v="43" actId="20577"/>
          <ac:spMkLst>
            <pc:docMk/>
            <pc:sldMk cId="3870285730" sldId="319"/>
            <ac:spMk id="4" creationId="{B91515A7-343D-47E8-82B8-D58ED83CD3B1}"/>
          </ac:spMkLst>
        </pc:spChg>
      </pc:sldChg>
      <pc:sldChg chg="modSp">
        <pc:chgData name="Chandramouli, Devaki (Nokia - US/Dallas)" userId="S::devaki.chandramouli@nokia.com::ebf2a9f8-651b-4485-926f-9d93c0eafbc5" providerId="AD" clId="Web-{6867B7C3-19BB-ED57-A298-001DBD07A696}" dt="2022-03-03T01:11:01.323" v="40" actId="20577"/>
        <pc:sldMkLst>
          <pc:docMk/>
          <pc:sldMk cId="2416036818" sldId="338"/>
        </pc:sldMkLst>
        <pc:spChg chg="mod">
          <ac:chgData name="Chandramouli, Devaki (Nokia - US/Dallas)" userId="S::devaki.chandramouli@nokia.com::ebf2a9f8-651b-4485-926f-9d93c0eafbc5" providerId="AD" clId="Web-{6867B7C3-19BB-ED57-A298-001DBD07A696}" dt="2022-03-03T01:11:01.323" v="40" actId="20577"/>
          <ac:spMkLst>
            <pc:docMk/>
            <pc:sldMk cId="2416036818" sldId="338"/>
            <ac:spMk id="3" creationId="{85A38C5A-5EBC-4325-8F64-062DAE1CFEC0}"/>
          </ac:spMkLst>
        </pc:spChg>
        <pc:spChg chg="mod">
          <ac:chgData name="Chandramouli, Devaki (Nokia - US/Dallas)" userId="S::devaki.chandramouli@nokia.com::ebf2a9f8-651b-4485-926f-9d93c0eafbc5" providerId="AD" clId="Web-{6867B7C3-19BB-ED57-A298-001DBD07A696}" dt="2022-03-03T01:10:50.401" v="18" actId="20577"/>
          <ac:spMkLst>
            <pc:docMk/>
            <pc:sldMk cId="2416036818" sldId="338"/>
            <ac:spMk id="4" creationId="{BD612997-8F8D-4939-8023-9B09970813F4}"/>
          </ac:spMkLst>
        </pc:spChg>
        <pc:spChg chg="mod">
          <ac:chgData name="Chandramouli, Devaki (Nokia - US/Dallas)" userId="S::devaki.chandramouli@nokia.com::ebf2a9f8-651b-4485-926f-9d93c0eafbc5" providerId="AD" clId="Web-{6867B7C3-19BB-ED57-A298-001DBD07A696}" dt="2022-03-03T01:10:47.854" v="17" actId="20577"/>
          <ac:spMkLst>
            <pc:docMk/>
            <pc:sldMk cId="2416036818" sldId="338"/>
            <ac:spMk id="5" creationId="{0A813F0E-7224-42E6-A359-B5A9B05FEE7A}"/>
          </ac:spMkLst>
        </pc:spChg>
      </pc:sldChg>
      <pc:sldChg chg="del">
        <pc:chgData name="Chandramouli, Devaki (Nokia - US/Dallas)" userId="S::devaki.chandramouli@nokia.com::ebf2a9f8-651b-4485-926f-9d93c0eafbc5" providerId="AD" clId="Web-{6867B7C3-19BB-ED57-A298-001DBD07A696}" dt="2022-03-03T01:11:05.964" v="41"/>
        <pc:sldMkLst>
          <pc:docMk/>
          <pc:sldMk cId="1869295210" sldId="2134805292"/>
        </pc:sldMkLst>
      </pc:sldChg>
      <pc:sldChg chg="del">
        <pc:chgData name="Chandramouli, Devaki (Nokia - US/Dallas)" userId="S::devaki.chandramouli@nokia.com::ebf2a9f8-651b-4485-926f-9d93c0eafbc5" providerId="AD" clId="Web-{6867B7C3-19BB-ED57-A298-001DBD07A696}" dt="2022-03-03T01:11:11.574" v="42"/>
        <pc:sldMkLst>
          <pc:docMk/>
          <pc:sldMk cId="3329606578" sldId="2134805582"/>
        </pc:sldMkLst>
      </pc:sldChg>
      <pc:sldChg chg="new del">
        <pc:chgData name="Chandramouli, Devaki (Nokia - US/Dallas)" userId="S::devaki.chandramouli@nokia.com::ebf2a9f8-651b-4485-926f-9d93c0eafbc5" providerId="AD" clId="Web-{6867B7C3-19BB-ED57-A298-001DBD07A696}" dt="2022-03-03T01:12:27.484" v="45"/>
        <pc:sldMkLst>
          <pc:docMk/>
          <pc:sldMk cId="42869051" sldId="2134805614"/>
        </pc:sldMkLst>
      </pc:sldChg>
    </pc:docChg>
  </pc:docChgLst>
  <pc:docChgLst>
    <pc:chgData name="Devaki Chandramouli (Nokia)" userId="ebf2a9f8-651b-4485-926f-9d93c0eafbc5" providerId="ADAL" clId="{B50D256D-772D-4E1A-804D-00B7DA0A680E}"/>
    <pc:docChg chg="custSel addSld delSld modSld">
      <pc:chgData name="Devaki Chandramouli (Nokia)" userId="ebf2a9f8-651b-4485-926f-9d93c0eafbc5" providerId="ADAL" clId="{B50D256D-772D-4E1A-804D-00B7DA0A680E}" dt="2022-12-02T22:52:33.198" v="45" actId="113"/>
      <pc:docMkLst>
        <pc:docMk/>
      </pc:docMkLst>
      <pc:sldChg chg="del">
        <pc:chgData name="Devaki Chandramouli (Nokia)" userId="ebf2a9f8-651b-4485-926f-9d93c0eafbc5" providerId="ADAL" clId="{B50D256D-772D-4E1A-804D-00B7DA0A680E}" dt="2022-12-02T22:47:10.381" v="6" actId="47"/>
        <pc:sldMkLst>
          <pc:docMk/>
          <pc:sldMk cId="1806586001" sldId="2134805614"/>
        </pc:sldMkLst>
      </pc:sldChg>
      <pc:sldChg chg="modSp mod">
        <pc:chgData name="Devaki Chandramouli (Nokia)" userId="ebf2a9f8-651b-4485-926f-9d93c0eafbc5" providerId="ADAL" clId="{B50D256D-772D-4E1A-804D-00B7DA0A680E}" dt="2022-12-02T22:52:24.622" v="43" actId="113"/>
        <pc:sldMkLst>
          <pc:docMk/>
          <pc:sldMk cId="2009724111" sldId="2134805617"/>
        </pc:sldMkLst>
        <pc:spChg chg="mod">
          <ac:chgData name="Devaki Chandramouli (Nokia)" userId="ebf2a9f8-651b-4485-926f-9d93c0eafbc5" providerId="ADAL" clId="{B50D256D-772D-4E1A-804D-00B7DA0A680E}" dt="2022-12-02T22:52:24.622" v="43" actId="113"/>
          <ac:spMkLst>
            <pc:docMk/>
            <pc:sldMk cId="2009724111" sldId="2134805617"/>
            <ac:spMk id="4" creationId="{FD9B9349-5219-4A4E-8125-7E6F849D4C07}"/>
          </ac:spMkLst>
        </pc:spChg>
      </pc:sldChg>
      <pc:sldChg chg="del">
        <pc:chgData name="Devaki Chandramouli (Nokia)" userId="ebf2a9f8-651b-4485-926f-9d93c0eafbc5" providerId="ADAL" clId="{B50D256D-772D-4E1A-804D-00B7DA0A680E}" dt="2022-12-02T22:52:05.954" v="39" actId="47"/>
        <pc:sldMkLst>
          <pc:docMk/>
          <pc:sldMk cId="3974589309" sldId="2134805618"/>
        </pc:sldMkLst>
      </pc:sldChg>
      <pc:sldChg chg="del">
        <pc:chgData name="Devaki Chandramouli (Nokia)" userId="ebf2a9f8-651b-4485-926f-9d93c0eafbc5" providerId="ADAL" clId="{B50D256D-772D-4E1A-804D-00B7DA0A680E}" dt="2022-12-02T22:52:05.954" v="39" actId="47"/>
        <pc:sldMkLst>
          <pc:docMk/>
          <pc:sldMk cId="158966349" sldId="2146846823"/>
        </pc:sldMkLst>
      </pc:sldChg>
      <pc:sldChg chg="del">
        <pc:chgData name="Devaki Chandramouli (Nokia)" userId="ebf2a9f8-651b-4485-926f-9d93c0eafbc5" providerId="ADAL" clId="{B50D256D-772D-4E1A-804D-00B7DA0A680E}" dt="2022-12-02T22:51:54.905" v="38" actId="47"/>
        <pc:sldMkLst>
          <pc:docMk/>
          <pc:sldMk cId="60323065" sldId="2146846882"/>
        </pc:sldMkLst>
      </pc:sldChg>
      <pc:sldChg chg="del">
        <pc:chgData name="Devaki Chandramouli (Nokia)" userId="ebf2a9f8-651b-4485-926f-9d93c0eafbc5" providerId="ADAL" clId="{B50D256D-772D-4E1A-804D-00B7DA0A680E}" dt="2022-12-02T22:51:54.905" v="38" actId="47"/>
        <pc:sldMkLst>
          <pc:docMk/>
          <pc:sldMk cId="3101478688" sldId="2146846950"/>
        </pc:sldMkLst>
      </pc:sldChg>
      <pc:sldChg chg="del">
        <pc:chgData name="Devaki Chandramouli (Nokia)" userId="ebf2a9f8-651b-4485-926f-9d93c0eafbc5" providerId="ADAL" clId="{B50D256D-772D-4E1A-804D-00B7DA0A680E}" dt="2022-12-02T22:51:54.905" v="38" actId="47"/>
        <pc:sldMkLst>
          <pc:docMk/>
          <pc:sldMk cId="4106468363" sldId="2146846951"/>
        </pc:sldMkLst>
      </pc:sldChg>
      <pc:sldChg chg="modSp add mod">
        <pc:chgData name="Devaki Chandramouli (Nokia)" userId="ebf2a9f8-651b-4485-926f-9d93c0eafbc5" providerId="ADAL" clId="{B50D256D-772D-4E1A-804D-00B7DA0A680E}" dt="2022-12-02T22:49:23.321" v="28" actId="113"/>
        <pc:sldMkLst>
          <pc:docMk/>
          <pc:sldMk cId="4058157968" sldId="2146846969"/>
        </pc:sldMkLst>
        <pc:spChg chg="mod">
          <ac:chgData name="Devaki Chandramouli (Nokia)" userId="ebf2a9f8-651b-4485-926f-9d93c0eafbc5" providerId="ADAL" clId="{B50D256D-772D-4E1A-804D-00B7DA0A680E}" dt="2022-12-02T22:49:23.321" v="28" actId="113"/>
          <ac:spMkLst>
            <pc:docMk/>
            <pc:sldMk cId="4058157968" sldId="2146846969"/>
            <ac:spMk id="4" creationId="{FD9B9349-5219-4A4E-8125-7E6F849D4C07}"/>
          </ac:spMkLst>
        </pc:spChg>
      </pc:sldChg>
      <pc:sldChg chg="modSp add mod">
        <pc:chgData name="Devaki Chandramouli (Nokia)" userId="ebf2a9f8-651b-4485-926f-9d93c0eafbc5" providerId="ADAL" clId="{B50D256D-772D-4E1A-804D-00B7DA0A680E}" dt="2022-12-02T22:48:03.089" v="17" actId="6549"/>
        <pc:sldMkLst>
          <pc:docMk/>
          <pc:sldMk cId="2504306831" sldId="2146846970"/>
        </pc:sldMkLst>
        <pc:spChg chg="mod">
          <ac:chgData name="Devaki Chandramouli (Nokia)" userId="ebf2a9f8-651b-4485-926f-9d93c0eafbc5" providerId="ADAL" clId="{B50D256D-772D-4E1A-804D-00B7DA0A680E}" dt="2022-12-02T22:48:03.089" v="17" actId="6549"/>
          <ac:spMkLst>
            <pc:docMk/>
            <pc:sldMk cId="2504306831" sldId="2146846970"/>
            <ac:spMk id="4" creationId="{FD9B9349-5219-4A4E-8125-7E6F849D4C07}"/>
          </ac:spMkLst>
        </pc:spChg>
      </pc:sldChg>
      <pc:sldChg chg="modSp add mod">
        <pc:chgData name="Devaki Chandramouli (Nokia)" userId="ebf2a9f8-651b-4485-926f-9d93c0eafbc5" providerId="ADAL" clId="{B50D256D-772D-4E1A-804D-00B7DA0A680E}" dt="2022-12-02T22:49:02.738" v="26" actId="255"/>
        <pc:sldMkLst>
          <pc:docMk/>
          <pc:sldMk cId="3477942587" sldId="2146846971"/>
        </pc:sldMkLst>
        <pc:spChg chg="mod">
          <ac:chgData name="Devaki Chandramouli (Nokia)" userId="ebf2a9f8-651b-4485-926f-9d93c0eafbc5" providerId="ADAL" clId="{B50D256D-772D-4E1A-804D-00B7DA0A680E}" dt="2022-12-02T22:49:02.738" v="26" actId="255"/>
          <ac:spMkLst>
            <pc:docMk/>
            <pc:sldMk cId="3477942587" sldId="2146846971"/>
            <ac:spMk id="4" creationId="{FD9B9349-5219-4A4E-8125-7E6F849D4C07}"/>
          </ac:spMkLst>
        </pc:spChg>
      </pc:sldChg>
      <pc:sldChg chg="modSp add mod">
        <pc:chgData name="Devaki Chandramouli (Nokia)" userId="ebf2a9f8-651b-4485-926f-9d93c0eafbc5" providerId="ADAL" clId="{B50D256D-772D-4E1A-804D-00B7DA0A680E}" dt="2022-12-02T22:52:33.198" v="45" actId="113"/>
        <pc:sldMkLst>
          <pc:docMk/>
          <pc:sldMk cId="320400314" sldId="2146846972"/>
        </pc:sldMkLst>
        <pc:spChg chg="mod">
          <ac:chgData name="Devaki Chandramouli (Nokia)" userId="ebf2a9f8-651b-4485-926f-9d93c0eafbc5" providerId="ADAL" clId="{B50D256D-772D-4E1A-804D-00B7DA0A680E}" dt="2022-12-02T22:52:33.198" v="45" actId="113"/>
          <ac:spMkLst>
            <pc:docMk/>
            <pc:sldMk cId="320400314" sldId="2146846972"/>
            <ac:spMk id="4" creationId="{FD9B9349-5219-4A4E-8125-7E6F849D4C07}"/>
          </ac:spMkLst>
        </pc:spChg>
      </pc:sldChg>
    </pc:docChg>
  </pc:docChgLst>
  <pc:docChgLst>
    <pc:chgData name="Belling, Thomas (Nokia - DE/Munich)" userId="38e53bf5-7a59-41ec-8bf1-bf611b810166" providerId="ADAL" clId="{3D759380-DC48-492C-8C04-8398D9054694}"/>
    <pc:docChg chg="undo redo custSel addSld delSld modSld sldOrd">
      <pc:chgData name="Belling, Thomas (Nokia - DE/Munich)" userId="38e53bf5-7a59-41ec-8bf1-bf611b810166" providerId="ADAL" clId="{3D759380-DC48-492C-8C04-8398D9054694}" dt="2022-06-05T02:17:20.008" v="890" actId="20577"/>
      <pc:docMkLst>
        <pc:docMk/>
      </pc:docMkLst>
      <pc:sldChg chg="del">
        <pc:chgData name="Belling, Thomas (Nokia - DE/Munich)" userId="38e53bf5-7a59-41ec-8bf1-bf611b810166" providerId="ADAL" clId="{3D759380-DC48-492C-8C04-8398D9054694}" dt="2022-06-05T02:16:06.752" v="880" actId="47"/>
        <pc:sldMkLst>
          <pc:docMk/>
          <pc:sldMk cId="4045243974" sldId="2134805540"/>
        </pc:sldMkLst>
      </pc:sldChg>
      <pc:sldChg chg="addSp delSp modSp mod">
        <pc:chgData name="Belling, Thomas (Nokia - DE/Munich)" userId="38e53bf5-7a59-41ec-8bf1-bf611b810166" providerId="ADAL" clId="{3D759380-DC48-492C-8C04-8398D9054694}" dt="2022-06-05T02:16:35.921" v="881" actId="20577"/>
        <pc:sldMkLst>
          <pc:docMk/>
          <pc:sldMk cId="765254280" sldId="2146846794"/>
        </pc:sldMkLst>
        <pc:spChg chg="mod">
          <ac:chgData name="Belling, Thomas (Nokia - DE/Munich)" userId="38e53bf5-7a59-41ec-8bf1-bf611b810166" providerId="ADAL" clId="{3D759380-DC48-492C-8C04-8398D9054694}" dt="2022-06-05T02:15:57.407" v="879" actId="404"/>
          <ac:spMkLst>
            <pc:docMk/>
            <pc:sldMk cId="765254280" sldId="2146846794"/>
            <ac:spMk id="2" creationId="{828AE646-029C-43F1-BE54-1B04A2DEF02D}"/>
          </ac:spMkLst>
        </pc:spChg>
        <pc:spChg chg="mod">
          <ac:chgData name="Belling, Thomas (Nokia - DE/Munich)" userId="38e53bf5-7a59-41ec-8bf1-bf611b810166" providerId="ADAL" clId="{3D759380-DC48-492C-8C04-8398D9054694}" dt="2022-06-05T02:16:35.921" v="881" actId="20577"/>
          <ac:spMkLst>
            <pc:docMk/>
            <pc:sldMk cId="765254280" sldId="2146846794"/>
            <ac:spMk id="3" creationId="{B048C618-39BC-4B3E-A0B8-FE581AEF965F}"/>
          </ac:spMkLst>
        </pc:spChg>
        <pc:spChg chg="add del mod">
          <ac:chgData name="Belling, Thomas (Nokia - DE/Munich)" userId="38e53bf5-7a59-41ec-8bf1-bf611b810166" providerId="ADAL" clId="{3D759380-DC48-492C-8C04-8398D9054694}" dt="2022-06-05T02:09:01.032" v="695" actId="478"/>
          <ac:spMkLst>
            <pc:docMk/>
            <pc:sldMk cId="765254280" sldId="2146846794"/>
            <ac:spMk id="4" creationId="{28321214-5593-409F-8579-2A508BFFF6F3}"/>
          </ac:spMkLst>
        </pc:spChg>
        <pc:spChg chg="add del mod">
          <ac:chgData name="Belling, Thomas (Nokia - DE/Munich)" userId="38e53bf5-7a59-41ec-8bf1-bf611b810166" providerId="ADAL" clId="{3D759380-DC48-492C-8C04-8398D9054694}" dt="2022-06-05T02:08:53.008" v="693" actId="478"/>
          <ac:spMkLst>
            <pc:docMk/>
            <pc:sldMk cId="765254280" sldId="2146846794"/>
            <ac:spMk id="6" creationId="{FB2678EB-4E58-4CDF-BC32-58873BF94B0A}"/>
          </ac:spMkLst>
        </pc:spChg>
        <pc:spChg chg="add del mod">
          <ac:chgData name="Belling, Thomas (Nokia - DE/Munich)" userId="38e53bf5-7a59-41ec-8bf1-bf611b810166" providerId="ADAL" clId="{3D759380-DC48-492C-8C04-8398D9054694}" dt="2022-06-05T02:09:25.330" v="697" actId="478"/>
          <ac:spMkLst>
            <pc:docMk/>
            <pc:sldMk cId="765254280" sldId="2146846794"/>
            <ac:spMk id="8" creationId="{9B3A091B-AF9E-4122-9F9E-600CF0AD5386}"/>
          </ac:spMkLst>
        </pc:spChg>
      </pc:sldChg>
      <pc:sldChg chg="modSp mod">
        <pc:chgData name="Belling, Thomas (Nokia - DE/Munich)" userId="38e53bf5-7a59-41ec-8bf1-bf611b810166" providerId="ADAL" clId="{3D759380-DC48-492C-8C04-8398D9054694}" dt="2022-06-05T02:06:33.173" v="690" actId="20577"/>
        <pc:sldMkLst>
          <pc:docMk/>
          <pc:sldMk cId="476435417" sldId="2146846798"/>
        </pc:sldMkLst>
        <pc:spChg chg="mod">
          <ac:chgData name="Belling, Thomas (Nokia - DE/Munich)" userId="38e53bf5-7a59-41ec-8bf1-bf611b810166" providerId="ADAL" clId="{3D759380-DC48-492C-8C04-8398D9054694}" dt="2022-06-05T02:06:33.173" v="690" actId="20577"/>
          <ac:spMkLst>
            <pc:docMk/>
            <pc:sldMk cId="476435417" sldId="2146846798"/>
            <ac:spMk id="4" creationId="{FC0D3EA9-8686-465E-AF3E-02775AA807DF}"/>
          </ac:spMkLst>
        </pc:spChg>
      </pc:sldChg>
      <pc:sldChg chg="modSp mod">
        <pc:chgData name="Belling, Thomas (Nokia - DE/Munich)" userId="38e53bf5-7a59-41ec-8bf1-bf611b810166" providerId="ADAL" clId="{3D759380-DC48-492C-8C04-8398D9054694}" dt="2022-06-05T02:17:04.457" v="886" actId="20577"/>
        <pc:sldMkLst>
          <pc:docMk/>
          <pc:sldMk cId="3168969618" sldId="2146846799"/>
        </pc:sldMkLst>
        <pc:spChg chg="mod">
          <ac:chgData name="Belling, Thomas (Nokia - DE/Munich)" userId="38e53bf5-7a59-41ec-8bf1-bf611b810166" providerId="ADAL" clId="{3D759380-DC48-492C-8C04-8398D9054694}" dt="2022-06-05T02:17:04.457" v="886" actId="20577"/>
          <ac:spMkLst>
            <pc:docMk/>
            <pc:sldMk cId="3168969618" sldId="2146846799"/>
            <ac:spMk id="3" creationId="{B048C618-39BC-4B3E-A0B8-FE581AEF965F}"/>
          </ac:spMkLst>
        </pc:spChg>
        <pc:spChg chg="mod">
          <ac:chgData name="Belling, Thomas (Nokia - DE/Munich)" userId="38e53bf5-7a59-41ec-8bf1-bf611b810166" providerId="ADAL" clId="{3D759380-DC48-492C-8C04-8398D9054694}" dt="2022-06-05T01:43:56.960" v="311" actId="20577"/>
          <ac:spMkLst>
            <pc:docMk/>
            <pc:sldMk cId="3168969618" sldId="2146846799"/>
            <ac:spMk id="4" creationId="{28321214-5593-409F-8579-2A508BFFF6F3}"/>
          </ac:spMkLst>
        </pc:spChg>
      </pc:sldChg>
      <pc:sldChg chg="modSp add mod">
        <pc:chgData name="Belling, Thomas (Nokia - DE/Munich)" userId="38e53bf5-7a59-41ec-8bf1-bf611b810166" providerId="ADAL" clId="{3D759380-DC48-492C-8C04-8398D9054694}" dt="2022-06-05T02:17:12.432" v="888" actId="20577"/>
        <pc:sldMkLst>
          <pc:docMk/>
          <pc:sldMk cId="2309017409" sldId="2146846825"/>
        </pc:sldMkLst>
        <pc:spChg chg="mod">
          <ac:chgData name="Belling, Thomas (Nokia - DE/Munich)" userId="38e53bf5-7a59-41ec-8bf1-bf611b810166" providerId="ADAL" clId="{3D759380-DC48-492C-8C04-8398D9054694}" dt="2022-06-05T02:17:12.432" v="888" actId="20577"/>
          <ac:spMkLst>
            <pc:docMk/>
            <pc:sldMk cId="2309017409" sldId="2146846825"/>
            <ac:spMk id="3" creationId="{B048C618-39BC-4B3E-A0B8-FE581AEF965F}"/>
          </ac:spMkLst>
        </pc:spChg>
        <pc:spChg chg="mod">
          <ac:chgData name="Belling, Thomas (Nokia - DE/Munich)" userId="38e53bf5-7a59-41ec-8bf1-bf611b810166" providerId="ADAL" clId="{3D759380-DC48-492C-8C04-8398D9054694}" dt="2022-06-05T01:48:26.099" v="448" actId="20577"/>
          <ac:spMkLst>
            <pc:docMk/>
            <pc:sldMk cId="2309017409" sldId="2146846825"/>
            <ac:spMk id="4" creationId="{28321214-5593-409F-8579-2A508BFFF6F3}"/>
          </ac:spMkLst>
        </pc:spChg>
      </pc:sldChg>
      <pc:sldChg chg="addSp delSp modSp add mod">
        <pc:chgData name="Belling, Thomas (Nokia - DE/Munich)" userId="38e53bf5-7a59-41ec-8bf1-bf611b810166" providerId="ADAL" clId="{3D759380-DC48-492C-8C04-8398D9054694}" dt="2022-06-05T02:17:20.008" v="890" actId="20577"/>
        <pc:sldMkLst>
          <pc:docMk/>
          <pc:sldMk cId="1478759796" sldId="2146846826"/>
        </pc:sldMkLst>
        <pc:spChg chg="mod">
          <ac:chgData name="Belling, Thomas (Nokia - DE/Munich)" userId="38e53bf5-7a59-41ec-8bf1-bf611b810166" providerId="ADAL" clId="{3D759380-DC48-492C-8C04-8398D9054694}" dt="2022-06-05T02:17:20.008" v="890" actId="20577"/>
          <ac:spMkLst>
            <pc:docMk/>
            <pc:sldMk cId="1478759796" sldId="2146846826"/>
            <ac:spMk id="3" creationId="{B048C618-39BC-4B3E-A0B8-FE581AEF965F}"/>
          </ac:spMkLst>
        </pc:spChg>
        <pc:spChg chg="mod">
          <ac:chgData name="Belling, Thomas (Nokia - DE/Munich)" userId="38e53bf5-7a59-41ec-8bf1-bf611b810166" providerId="ADAL" clId="{3D759380-DC48-492C-8C04-8398D9054694}" dt="2022-06-05T01:51:47.685" v="508" actId="20577"/>
          <ac:spMkLst>
            <pc:docMk/>
            <pc:sldMk cId="1478759796" sldId="2146846826"/>
            <ac:spMk id="4" creationId="{28321214-5593-409F-8579-2A508BFFF6F3}"/>
          </ac:spMkLst>
        </pc:spChg>
        <pc:spChg chg="add del">
          <ac:chgData name="Belling, Thomas (Nokia - DE/Munich)" userId="38e53bf5-7a59-41ec-8bf1-bf611b810166" providerId="ADAL" clId="{3D759380-DC48-492C-8C04-8398D9054694}" dt="2022-06-05T01:48:54.310" v="450" actId="22"/>
          <ac:spMkLst>
            <pc:docMk/>
            <pc:sldMk cId="1478759796" sldId="2146846826"/>
            <ac:spMk id="6" creationId="{42ACAD04-C80D-4D77-A31F-EDBCA21B0215}"/>
          </ac:spMkLst>
        </pc:spChg>
      </pc:sldChg>
      <pc:sldChg chg="add del">
        <pc:chgData name="Belling, Thomas (Nokia - DE/Munich)" userId="38e53bf5-7a59-41ec-8bf1-bf611b810166" providerId="ADAL" clId="{3D759380-DC48-492C-8C04-8398D9054694}" dt="2022-06-05T01:30:55.653" v="27" actId="47"/>
        <pc:sldMkLst>
          <pc:docMk/>
          <pc:sldMk cId="2281306797" sldId="2146846827"/>
        </pc:sldMkLst>
      </pc:sldChg>
      <pc:sldChg chg="modSp add mod ord">
        <pc:chgData name="Belling, Thomas (Nokia - DE/Munich)" userId="38e53bf5-7a59-41ec-8bf1-bf611b810166" providerId="ADAL" clId="{3D759380-DC48-492C-8C04-8398D9054694}" dt="2022-06-05T02:16:40.096" v="882" actId="20577"/>
        <pc:sldMkLst>
          <pc:docMk/>
          <pc:sldMk cId="2332124183" sldId="2146846828"/>
        </pc:sldMkLst>
        <pc:spChg chg="mod">
          <ac:chgData name="Belling, Thomas (Nokia - DE/Munich)" userId="38e53bf5-7a59-41ec-8bf1-bf611b810166" providerId="ADAL" clId="{3D759380-DC48-492C-8C04-8398D9054694}" dt="2022-06-05T02:16:40.096" v="882" actId="20577"/>
          <ac:spMkLst>
            <pc:docMk/>
            <pc:sldMk cId="2332124183" sldId="2146846828"/>
            <ac:spMk id="3" creationId="{B048C618-39BC-4B3E-A0B8-FE581AEF965F}"/>
          </ac:spMkLst>
        </pc:spChg>
        <pc:spChg chg="mod">
          <ac:chgData name="Belling, Thomas (Nokia - DE/Munich)" userId="38e53bf5-7a59-41ec-8bf1-bf611b810166" providerId="ADAL" clId="{3D759380-DC48-492C-8C04-8398D9054694}" dt="2022-06-05T01:40:32.621" v="264" actId="403"/>
          <ac:spMkLst>
            <pc:docMk/>
            <pc:sldMk cId="2332124183" sldId="2146846828"/>
            <ac:spMk id="4" creationId="{28321214-5593-409F-8579-2A508BFFF6F3}"/>
          </ac:spMkLst>
        </pc:spChg>
      </pc:sldChg>
      <pc:sldChg chg="modSp add mod">
        <pc:chgData name="Belling, Thomas (Nokia - DE/Munich)" userId="38e53bf5-7a59-41ec-8bf1-bf611b810166" providerId="ADAL" clId="{3D759380-DC48-492C-8C04-8398D9054694}" dt="2022-06-05T02:16:55.077" v="884" actId="20577"/>
        <pc:sldMkLst>
          <pc:docMk/>
          <pc:sldMk cId="2074122157" sldId="2146846829"/>
        </pc:sldMkLst>
        <pc:spChg chg="mod">
          <ac:chgData name="Belling, Thomas (Nokia - DE/Munich)" userId="38e53bf5-7a59-41ec-8bf1-bf611b810166" providerId="ADAL" clId="{3D759380-DC48-492C-8C04-8398D9054694}" dt="2022-06-05T02:16:55.077" v="884" actId="20577"/>
          <ac:spMkLst>
            <pc:docMk/>
            <pc:sldMk cId="2074122157" sldId="2146846829"/>
            <ac:spMk id="3" creationId="{B048C618-39BC-4B3E-A0B8-FE581AEF965F}"/>
          </ac:spMkLst>
        </pc:spChg>
        <pc:spChg chg="mod">
          <ac:chgData name="Belling, Thomas (Nokia - DE/Munich)" userId="38e53bf5-7a59-41ec-8bf1-bf611b810166" providerId="ADAL" clId="{3D759380-DC48-492C-8C04-8398D9054694}" dt="2022-06-05T01:41:02.140" v="278" actId="20577"/>
          <ac:spMkLst>
            <pc:docMk/>
            <pc:sldMk cId="2074122157" sldId="2146846829"/>
            <ac:spMk id="4" creationId="{28321214-5593-409F-8579-2A508BFFF6F3}"/>
          </ac:spMkLst>
        </pc:spChg>
      </pc:sldChg>
      <pc:sldChg chg="add del">
        <pc:chgData name="Belling, Thomas (Nokia - DE/Munich)" userId="38e53bf5-7a59-41ec-8bf1-bf611b810166" providerId="ADAL" clId="{3D759380-DC48-492C-8C04-8398D9054694}" dt="2022-06-05T01:32:22.866" v="29" actId="47"/>
        <pc:sldMkLst>
          <pc:docMk/>
          <pc:sldMk cId="3528850167" sldId="2146846829"/>
        </pc:sldMkLst>
      </pc:sldChg>
    </pc:docChg>
  </pc:docChgLst>
  <pc:docChgLst>
    <pc:chgData name="Hietalahti, Hannu (Nokia - FI/Oulu)" userId="bcd6d86d-9ffc-4aa1-b5a6-083a51dd89a7" providerId="ADAL" clId="{4832C16D-2887-4BFA-A36D-2D79DD9237B3}"/>
    <pc:docChg chg="custSel addSld delSld modSld modMainMaster">
      <pc:chgData name="Hietalahti, Hannu (Nokia - FI/Oulu)" userId="bcd6d86d-9ffc-4aa1-b5a6-083a51dd89a7" providerId="ADAL" clId="{4832C16D-2887-4BFA-A36D-2D79DD9237B3}" dt="2021-04-22T12:18:52.046" v="2972" actId="20577"/>
      <pc:docMkLst>
        <pc:docMk/>
      </pc:docMkLst>
      <pc:sldChg chg="modSp">
        <pc:chgData name="Hietalahti, Hannu (Nokia - FI/Oulu)" userId="bcd6d86d-9ffc-4aa1-b5a6-083a51dd89a7" providerId="ADAL" clId="{4832C16D-2887-4BFA-A36D-2D79DD9237B3}" dt="2021-04-22T09:59:09.787" v="1704" actId="20577"/>
        <pc:sldMkLst>
          <pc:docMk/>
          <pc:sldMk cId="298917606" sldId="301"/>
        </pc:sldMkLst>
        <pc:spChg chg="mod">
          <ac:chgData name="Hietalahti, Hannu (Nokia - FI/Oulu)" userId="bcd6d86d-9ffc-4aa1-b5a6-083a51dd89a7" providerId="ADAL" clId="{4832C16D-2887-4BFA-A36D-2D79DD9237B3}" dt="2021-04-22T09:59:09.787" v="1704" actId="20577"/>
          <ac:spMkLst>
            <pc:docMk/>
            <pc:sldMk cId="298917606" sldId="301"/>
            <ac:spMk id="5" creationId="{A560F786-3A6C-41F0-99EF-DFF4DE7F777C}"/>
          </ac:spMkLst>
        </pc:spChg>
      </pc:sldChg>
      <pc:sldChg chg="modSp">
        <pc:chgData name="Hietalahti, Hannu (Nokia - FI/Oulu)" userId="bcd6d86d-9ffc-4aa1-b5a6-083a51dd89a7" providerId="ADAL" clId="{4832C16D-2887-4BFA-A36D-2D79DD9237B3}" dt="2021-04-22T09:51:59.442" v="1320" actId="20577"/>
        <pc:sldMkLst>
          <pc:docMk/>
          <pc:sldMk cId="3312523795" sldId="321"/>
        </pc:sldMkLst>
        <pc:spChg chg="mod">
          <ac:chgData name="Hietalahti, Hannu (Nokia - FI/Oulu)" userId="bcd6d86d-9ffc-4aa1-b5a6-083a51dd89a7" providerId="ADAL" clId="{4832C16D-2887-4BFA-A36D-2D79DD9237B3}" dt="2021-04-22T09:51:59.442" v="1320" actId="20577"/>
          <ac:spMkLst>
            <pc:docMk/>
            <pc:sldMk cId="3312523795" sldId="321"/>
            <ac:spMk id="4" creationId="{B91515A7-343D-47E8-82B8-D58ED83CD3B1}"/>
          </ac:spMkLst>
        </pc:spChg>
      </pc:sldChg>
      <pc:sldChg chg="addSp delSp modSp">
        <pc:chgData name="Hietalahti, Hannu (Nokia - FI/Oulu)" userId="bcd6d86d-9ffc-4aa1-b5a6-083a51dd89a7" providerId="ADAL" clId="{4832C16D-2887-4BFA-A36D-2D79DD9237B3}" dt="2021-04-22T09:56:10.483" v="1485" actId="20577"/>
        <pc:sldMkLst>
          <pc:docMk/>
          <pc:sldMk cId="1579721114" sldId="336"/>
        </pc:sldMkLst>
        <pc:spChg chg="del">
          <ac:chgData name="Hietalahti, Hannu (Nokia - FI/Oulu)" userId="bcd6d86d-9ffc-4aa1-b5a6-083a51dd89a7" providerId="ADAL" clId="{4832C16D-2887-4BFA-A36D-2D79DD9237B3}" dt="2021-04-22T09:52:32.483" v="1333" actId="478"/>
          <ac:spMkLst>
            <pc:docMk/>
            <pc:sldMk cId="1579721114" sldId="336"/>
            <ac:spMk id="3" creationId="{5B84A4F0-57DA-4FC9-AEAC-815E3FF90221}"/>
          </ac:spMkLst>
        </pc:spChg>
        <pc:spChg chg="mod">
          <ac:chgData name="Hietalahti, Hannu (Nokia - FI/Oulu)" userId="bcd6d86d-9ffc-4aa1-b5a6-083a51dd89a7" providerId="ADAL" clId="{4832C16D-2887-4BFA-A36D-2D79DD9237B3}" dt="2021-04-22T09:52:59.529" v="1410" actId="20577"/>
          <ac:spMkLst>
            <pc:docMk/>
            <pc:sldMk cId="1579721114" sldId="336"/>
            <ac:spMk id="4" creationId="{BDC7D266-0891-4430-9759-534065AEEEF3}"/>
          </ac:spMkLst>
        </pc:spChg>
        <pc:spChg chg="mod">
          <ac:chgData name="Hietalahti, Hannu (Nokia - FI/Oulu)" userId="bcd6d86d-9ffc-4aa1-b5a6-083a51dd89a7" providerId="ADAL" clId="{4832C16D-2887-4BFA-A36D-2D79DD9237B3}" dt="2021-04-22T09:56:10.483" v="1485" actId="20577"/>
          <ac:spMkLst>
            <pc:docMk/>
            <pc:sldMk cId="1579721114" sldId="336"/>
            <ac:spMk id="5" creationId="{A560F786-3A6C-41F0-99EF-DFF4DE7F777C}"/>
          </ac:spMkLst>
        </pc:spChg>
        <pc:spChg chg="add mod">
          <ac:chgData name="Hietalahti, Hannu (Nokia - FI/Oulu)" userId="bcd6d86d-9ffc-4aa1-b5a6-083a51dd89a7" providerId="ADAL" clId="{4832C16D-2887-4BFA-A36D-2D79DD9237B3}" dt="2021-04-22T09:52:55.476" v="1409" actId="20577"/>
          <ac:spMkLst>
            <pc:docMk/>
            <pc:sldMk cId="1579721114" sldId="336"/>
            <ac:spMk id="7" creationId="{E2D86EB4-B9C0-407F-95B4-60B182E13168}"/>
          </ac:spMkLst>
        </pc:spChg>
      </pc:sldChg>
      <pc:sldChg chg="modSp">
        <pc:chgData name="Hietalahti, Hannu (Nokia - FI/Oulu)" userId="bcd6d86d-9ffc-4aa1-b5a6-083a51dd89a7" providerId="ADAL" clId="{4832C16D-2887-4BFA-A36D-2D79DD9237B3}" dt="2021-04-22T09:48:45.550" v="1189" actId="27636"/>
        <pc:sldMkLst>
          <pc:docMk/>
          <pc:sldMk cId="610602330" sldId="352"/>
        </pc:sldMkLst>
        <pc:spChg chg="mod">
          <ac:chgData name="Hietalahti, Hannu (Nokia - FI/Oulu)" userId="bcd6d86d-9ffc-4aa1-b5a6-083a51dd89a7" providerId="ADAL" clId="{4832C16D-2887-4BFA-A36D-2D79DD9237B3}" dt="2021-04-22T09:48:45.550" v="1189" actId="27636"/>
          <ac:spMkLst>
            <pc:docMk/>
            <pc:sldMk cId="610602330" sldId="352"/>
            <ac:spMk id="5" creationId="{A560F786-3A6C-41F0-99EF-DFF4DE7F777C}"/>
          </ac:spMkLst>
        </pc:spChg>
      </pc:sldChg>
      <pc:sldChg chg="delSp modSp">
        <pc:chgData name="Hietalahti, Hannu (Nokia - FI/Oulu)" userId="bcd6d86d-9ffc-4aa1-b5a6-083a51dd89a7" providerId="ADAL" clId="{4832C16D-2887-4BFA-A36D-2D79DD9237B3}" dt="2021-04-22T11:32:23.112" v="2190" actId="478"/>
        <pc:sldMkLst>
          <pc:docMk/>
          <pc:sldMk cId="3564050460" sldId="2134805422"/>
        </pc:sldMkLst>
        <pc:spChg chg="del">
          <ac:chgData name="Hietalahti, Hannu (Nokia - FI/Oulu)" userId="bcd6d86d-9ffc-4aa1-b5a6-083a51dd89a7" providerId="ADAL" clId="{4832C16D-2887-4BFA-A36D-2D79DD9237B3}" dt="2021-04-22T11:32:23.112" v="2190" actId="478"/>
          <ac:spMkLst>
            <pc:docMk/>
            <pc:sldMk cId="3564050460" sldId="2134805422"/>
            <ac:spMk id="2" creationId="{9435687F-1E3B-44A8-AF9B-29A57C3EAC1B}"/>
          </ac:spMkLst>
        </pc:spChg>
        <pc:spChg chg="mod">
          <ac:chgData name="Hietalahti, Hannu (Nokia - FI/Oulu)" userId="bcd6d86d-9ffc-4aa1-b5a6-083a51dd89a7" providerId="ADAL" clId="{4832C16D-2887-4BFA-A36D-2D79DD9237B3}" dt="2021-04-22T11:25:19.106" v="2053" actId="20577"/>
          <ac:spMkLst>
            <pc:docMk/>
            <pc:sldMk cId="3564050460" sldId="2134805422"/>
            <ac:spMk id="4" creationId="{BDC7D266-0891-4430-9759-534065AEEEF3}"/>
          </ac:spMkLst>
        </pc:spChg>
        <pc:spChg chg="mod">
          <ac:chgData name="Hietalahti, Hannu (Nokia - FI/Oulu)" userId="bcd6d86d-9ffc-4aa1-b5a6-083a51dd89a7" providerId="ADAL" clId="{4832C16D-2887-4BFA-A36D-2D79DD9237B3}" dt="2021-04-22T11:21:49.837" v="1960" actId="20577"/>
          <ac:spMkLst>
            <pc:docMk/>
            <pc:sldMk cId="3564050460" sldId="2134805422"/>
            <ac:spMk id="5" creationId="{A560F786-3A6C-41F0-99EF-DFF4DE7F777C}"/>
          </ac:spMkLst>
        </pc:spChg>
      </pc:sldChg>
      <pc:sldChg chg="add">
        <pc:chgData name="Hietalahti, Hannu (Nokia - FI/Oulu)" userId="bcd6d86d-9ffc-4aa1-b5a6-083a51dd89a7" providerId="ADAL" clId="{4832C16D-2887-4BFA-A36D-2D79DD9237B3}" dt="2021-04-22T09:52:17.723" v="1321"/>
        <pc:sldMkLst>
          <pc:docMk/>
          <pc:sldMk cId="1913507967" sldId="2134805464"/>
        </pc:sldMkLst>
      </pc:sldChg>
      <pc:sldChg chg="add del">
        <pc:chgData name="Hietalahti, Hannu (Nokia - FI/Oulu)" userId="bcd6d86d-9ffc-4aa1-b5a6-083a51dd89a7" providerId="ADAL" clId="{4832C16D-2887-4BFA-A36D-2D79DD9237B3}" dt="2021-04-22T09:53:05.925" v="1412"/>
        <pc:sldMkLst>
          <pc:docMk/>
          <pc:sldMk cId="3430953229" sldId="2134805465"/>
        </pc:sldMkLst>
      </pc:sldChg>
      <pc:sldChg chg="delSp modSp add">
        <pc:chgData name="Hietalahti, Hannu (Nokia - FI/Oulu)" userId="bcd6d86d-9ffc-4aa1-b5a6-083a51dd89a7" providerId="ADAL" clId="{4832C16D-2887-4BFA-A36D-2D79DD9237B3}" dt="2021-04-22T11:32:19.052" v="2189" actId="478"/>
        <pc:sldMkLst>
          <pc:docMk/>
          <pc:sldMk cId="4246778691" sldId="2134805465"/>
        </pc:sldMkLst>
        <pc:spChg chg="del">
          <ac:chgData name="Hietalahti, Hannu (Nokia - FI/Oulu)" userId="bcd6d86d-9ffc-4aa1-b5a6-083a51dd89a7" providerId="ADAL" clId="{4832C16D-2887-4BFA-A36D-2D79DD9237B3}" dt="2021-04-22T11:32:19.052" v="2189" actId="478"/>
          <ac:spMkLst>
            <pc:docMk/>
            <pc:sldMk cId="4246778691" sldId="2134805465"/>
            <ac:spMk id="2" creationId="{9435687F-1E3B-44A8-AF9B-29A57C3EAC1B}"/>
          </ac:spMkLst>
        </pc:spChg>
        <pc:spChg chg="mod">
          <ac:chgData name="Hietalahti, Hannu (Nokia - FI/Oulu)" userId="bcd6d86d-9ffc-4aa1-b5a6-083a51dd89a7" providerId="ADAL" clId="{4832C16D-2887-4BFA-A36D-2D79DD9237B3}" dt="2021-04-22T11:25:47.476" v="2124" actId="20577"/>
          <ac:spMkLst>
            <pc:docMk/>
            <pc:sldMk cId="4246778691" sldId="2134805465"/>
            <ac:spMk id="3" creationId="{5B84A4F0-57DA-4FC9-AEAC-815E3FF90221}"/>
          </ac:spMkLst>
        </pc:spChg>
        <pc:spChg chg="mod">
          <ac:chgData name="Hietalahti, Hannu (Nokia - FI/Oulu)" userId="bcd6d86d-9ffc-4aa1-b5a6-083a51dd89a7" providerId="ADAL" clId="{4832C16D-2887-4BFA-A36D-2D79DD9237B3}" dt="2021-04-22T11:25:31.768" v="2093" actId="20577"/>
          <ac:spMkLst>
            <pc:docMk/>
            <pc:sldMk cId="4246778691" sldId="2134805465"/>
            <ac:spMk id="4" creationId="{BDC7D266-0891-4430-9759-534065AEEEF3}"/>
          </ac:spMkLst>
        </pc:spChg>
        <pc:spChg chg="mod">
          <ac:chgData name="Hietalahti, Hannu (Nokia - FI/Oulu)" userId="bcd6d86d-9ffc-4aa1-b5a6-083a51dd89a7" providerId="ADAL" clId="{4832C16D-2887-4BFA-A36D-2D79DD9237B3}" dt="2021-04-22T11:28:35.423" v="2126"/>
          <ac:spMkLst>
            <pc:docMk/>
            <pc:sldMk cId="4246778691" sldId="2134805465"/>
            <ac:spMk id="5" creationId="{A560F786-3A6C-41F0-99EF-DFF4DE7F777C}"/>
          </ac:spMkLst>
        </pc:spChg>
      </pc:sldChg>
      <pc:sldChg chg="delSp modSp add">
        <pc:chgData name="Hietalahti, Hannu (Nokia - FI/Oulu)" userId="bcd6d86d-9ffc-4aa1-b5a6-083a51dd89a7" providerId="ADAL" clId="{4832C16D-2887-4BFA-A36D-2D79DD9237B3}" dt="2021-04-22T11:51:22.659" v="2223" actId="20577"/>
        <pc:sldMkLst>
          <pc:docMk/>
          <pc:sldMk cId="3863244974" sldId="2134805466"/>
        </pc:sldMkLst>
        <pc:spChg chg="del">
          <ac:chgData name="Hietalahti, Hannu (Nokia - FI/Oulu)" userId="bcd6d86d-9ffc-4aa1-b5a6-083a51dd89a7" providerId="ADAL" clId="{4832C16D-2887-4BFA-A36D-2D79DD9237B3}" dt="2021-04-22T11:32:13.332" v="2188" actId="478"/>
          <ac:spMkLst>
            <pc:docMk/>
            <pc:sldMk cId="3863244974" sldId="2134805466"/>
            <ac:spMk id="2" creationId="{9435687F-1E3B-44A8-AF9B-29A57C3EAC1B}"/>
          </ac:spMkLst>
        </pc:spChg>
        <pc:spChg chg="mod">
          <ac:chgData name="Hietalahti, Hannu (Nokia - FI/Oulu)" userId="bcd6d86d-9ffc-4aa1-b5a6-083a51dd89a7" providerId="ADAL" clId="{4832C16D-2887-4BFA-A36D-2D79DD9237B3}" dt="2021-04-22T11:51:22.659" v="2223" actId="20577"/>
          <ac:spMkLst>
            <pc:docMk/>
            <pc:sldMk cId="3863244974" sldId="2134805466"/>
            <ac:spMk id="3" creationId="{5B84A4F0-57DA-4FC9-AEAC-815E3FF90221}"/>
          </ac:spMkLst>
        </pc:spChg>
        <pc:spChg chg="mod">
          <ac:chgData name="Hietalahti, Hannu (Nokia - FI/Oulu)" userId="bcd6d86d-9ffc-4aa1-b5a6-083a51dd89a7" providerId="ADAL" clId="{4832C16D-2887-4BFA-A36D-2D79DD9237B3}" dt="2021-04-22T11:35:37.955" v="2214" actId="20577"/>
          <ac:spMkLst>
            <pc:docMk/>
            <pc:sldMk cId="3863244974" sldId="2134805466"/>
            <ac:spMk id="5" creationId="{A560F786-3A6C-41F0-99EF-DFF4DE7F777C}"/>
          </ac:spMkLst>
        </pc:spChg>
      </pc:sldChg>
      <pc:sldChg chg="delSp modSp add">
        <pc:chgData name="Hietalahti, Hannu (Nokia - FI/Oulu)" userId="bcd6d86d-9ffc-4aa1-b5a6-083a51dd89a7" providerId="ADAL" clId="{4832C16D-2887-4BFA-A36D-2D79DD9237B3}" dt="2021-04-22T11:51:33.043" v="2226" actId="20577"/>
        <pc:sldMkLst>
          <pc:docMk/>
          <pc:sldMk cId="980315514" sldId="2134805467"/>
        </pc:sldMkLst>
        <pc:spChg chg="del">
          <ac:chgData name="Hietalahti, Hannu (Nokia - FI/Oulu)" userId="bcd6d86d-9ffc-4aa1-b5a6-083a51dd89a7" providerId="ADAL" clId="{4832C16D-2887-4BFA-A36D-2D79DD9237B3}" dt="2021-04-22T11:32:10.685" v="2187" actId="478"/>
          <ac:spMkLst>
            <pc:docMk/>
            <pc:sldMk cId="980315514" sldId="2134805467"/>
            <ac:spMk id="2" creationId="{9435687F-1E3B-44A8-AF9B-29A57C3EAC1B}"/>
          </ac:spMkLst>
        </pc:spChg>
        <pc:spChg chg="mod">
          <ac:chgData name="Hietalahti, Hannu (Nokia - FI/Oulu)" userId="bcd6d86d-9ffc-4aa1-b5a6-083a51dd89a7" providerId="ADAL" clId="{4832C16D-2887-4BFA-A36D-2D79DD9237B3}" dt="2021-04-22T11:51:33.043" v="2226" actId="20577"/>
          <ac:spMkLst>
            <pc:docMk/>
            <pc:sldMk cId="980315514" sldId="2134805467"/>
            <ac:spMk id="3" creationId="{5B84A4F0-57DA-4FC9-AEAC-815E3FF90221}"/>
          </ac:spMkLst>
        </pc:spChg>
        <pc:spChg chg="mod">
          <ac:chgData name="Hietalahti, Hannu (Nokia - FI/Oulu)" userId="bcd6d86d-9ffc-4aa1-b5a6-083a51dd89a7" providerId="ADAL" clId="{4832C16D-2887-4BFA-A36D-2D79DD9237B3}" dt="2021-04-22T11:34:27.544" v="2203" actId="6549"/>
          <ac:spMkLst>
            <pc:docMk/>
            <pc:sldMk cId="980315514" sldId="2134805467"/>
            <ac:spMk id="5" creationId="{A560F786-3A6C-41F0-99EF-DFF4DE7F777C}"/>
          </ac:spMkLst>
        </pc:spChg>
      </pc:sldChg>
      <pc:sldChg chg="delSp modSp add">
        <pc:chgData name="Hietalahti, Hannu (Nokia - FI/Oulu)" userId="bcd6d86d-9ffc-4aa1-b5a6-083a51dd89a7" providerId="ADAL" clId="{4832C16D-2887-4BFA-A36D-2D79DD9237B3}" dt="2021-04-22T12:18:52.046" v="2972" actId="20577"/>
        <pc:sldMkLst>
          <pc:docMk/>
          <pc:sldMk cId="1338556221" sldId="2134805468"/>
        </pc:sldMkLst>
        <pc:spChg chg="del">
          <ac:chgData name="Hietalahti, Hannu (Nokia - FI/Oulu)" userId="bcd6d86d-9ffc-4aa1-b5a6-083a51dd89a7" providerId="ADAL" clId="{4832C16D-2887-4BFA-A36D-2D79DD9237B3}" dt="2021-04-22T11:32:06.305" v="2186" actId="478"/>
          <ac:spMkLst>
            <pc:docMk/>
            <pc:sldMk cId="1338556221" sldId="2134805468"/>
            <ac:spMk id="2" creationId="{9435687F-1E3B-44A8-AF9B-29A57C3EAC1B}"/>
          </ac:spMkLst>
        </pc:spChg>
        <pc:spChg chg="mod">
          <ac:chgData name="Hietalahti, Hannu (Nokia - FI/Oulu)" userId="bcd6d86d-9ffc-4aa1-b5a6-083a51dd89a7" providerId="ADAL" clId="{4832C16D-2887-4BFA-A36D-2D79DD9237B3}" dt="2021-04-22T11:31:57.720" v="2185" actId="20577"/>
          <ac:spMkLst>
            <pc:docMk/>
            <pc:sldMk cId="1338556221" sldId="2134805468"/>
            <ac:spMk id="3" creationId="{5B84A4F0-57DA-4FC9-AEAC-815E3FF90221}"/>
          </ac:spMkLst>
        </pc:spChg>
        <pc:spChg chg="mod">
          <ac:chgData name="Hietalahti, Hannu (Nokia - FI/Oulu)" userId="bcd6d86d-9ffc-4aa1-b5a6-083a51dd89a7" providerId="ADAL" clId="{4832C16D-2887-4BFA-A36D-2D79DD9237B3}" dt="2021-04-22T12:18:52.046" v="2972" actId="20577"/>
          <ac:spMkLst>
            <pc:docMk/>
            <pc:sldMk cId="1338556221" sldId="2134805468"/>
            <ac:spMk id="5" creationId="{A560F786-3A6C-41F0-99EF-DFF4DE7F777C}"/>
          </ac:spMkLst>
        </pc:spChg>
      </pc:sldChg>
      <pc:sldMasterChg chg="modSp">
        <pc:chgData name="Hietalahti, Hannu (Nokia - FI/Oulu)" userId="bcd6d86d-9ffc-4aa1-b5a6-083a51dd89a7" providerId="ADAL" clId="{4832C16D-2887-4BFA-A36D-2D79DD9237B3}" dt="2021-04-22T06:45:19.861" v="1" actId="20577"/>
        <pc:sldMasterMkLst>
          <pc:docMk/>
          <pc:sldMasterMk cId="4241891639" sldId="2147483650"/>
        </pc:sldMasterMkLst>
        <pc:spChg chg="mod">
          <ac:chgData name="Hietalahti, Hannu (Nokia - FI/Oulu)" userId="bcd6d86d-9ffc-4aa1-b5a6-083a51dd89a7" providerId="ADAL" clId="{4832C16D-2887-4BFA-A36D-2D79DD9237B3}" dt="2021-04-22T06:45:19.861" v="1" actId="20577"/>
          <ac:spMkLst>
            <pc:docMk/>
            <pc:sldMasterMk cId="4241891639" sldId="2147483650"/>
            <ac:spMk id="11" creationId="{87D0E1A0-C19A-4DB8-BA1F-3D71830D1A93}"/>
          </ac:spMkLst>
        </pc:spChg>
      </pc:sldMasterChg>
      <pc:sldMasterChg chg="modSp">
        <pc:chgData name="Hietalahti, Hannu (Nokia - FI/Oulu)" userId="bcd6d86d-9ffc-4aa1-b5a6-083a51dd89a7" providerId="ADAL" clId="{4832C16D-2887-4BFA-A36D-2D79DD9237B3}" dt="2021-04-22T06:45:45.349" v="5" actId="20577"/>
        <pc:sldMasterMkLst>
          <pc:docMk/>
          <pc:sldMasterMk cId="1928352381" sldId="2147483673"/>
        </pc:sldMasterMkLst>
        <pc:spChg chg="mod">
          <ac:chgData name="Hietalahti, Hannu (Nokia - FI/Oulu)" userId="bcd6d86d-9ffc-4aa1-b5a6-083a51dd89a7" providerId="ADAL" clId="{4832C16D-2887-4BFA-A36D-2D79DD9237B3}" dt="2021-04-22T06:45:45.349" v="5" actId="20577"/>
          <ac:spMkLst>
            <pc:docMk/>
            <pc:sldMasterMk cId="1928352381" sldId="2147483673"/>
            <ac:spMk id="7" creationId="{935D8FD1-98D9-47C9-885D-370F1B25E0D7}"/>
          </ac:spMkLst>
        </pc:spChg>
      </pc:sldMasterChg>
      <pc:sldMasterChg chg="modSp">
        <pc:chgData name="Hietalahti, Hannu (Nokia - FI/Oulu)" userId="bcd6d86d-9ffc-4aa1-b5a6-083a51dd89a7" providerId="ADAL" clId="{4832C16D-2887-4BFA-A36D-2D79DD9237B3}" dt="2021-04-22T06:45:59.965" v="7" actId="20577"/>
        <pc:sldMasterMkLst>
          <pc:docMk/>
          <pc:sldMasterMk cId="870286614" sldId="2147483680"/>
        </pc:sldMasterMkLst>
        <pc:spChg chg="mod">
          <ac:chgData name="Hietalahti, Hannu (Nokia - FI/Oulu)" userId="bcd6d86d-9ffc-4aa1-b5a6-083a51dd89a7" providerId="ADAL" clId="{4832C16D-2887-4BFA-A36D-2D79DD9237B3}" dt="2021-04-22T06:45:59.965" v="7" actId="20577"/>
          <ac:spMkLst>
            <pc:docMk/>
            <pc:sldMasterMk cId="870286614" sldId="2147483680"/>
            <ac:spMk id="7" creationId="{935D8FD1-98D9-47C9-885D-370F1B25E0D7}"/>
          </ac:spMkLst>
        </pc:spChg>
      </pc:sldMasterChg>
      <pc:sldMasterChg chg="modSp">
        <pc:chgData name="Hietalahti, Hannu (Nokia - FI/Oulu)" userId="bcd6d86d-9ffc-4aa1-b5a6-083a51dd89a7" providerId="ADAL" clId="{4832C16D-2887-4BFA-A36D-2D79DD9237B3}" dt="2021-04-22T06:45:39.112" v="3" actId="20577"/>
        <pc:sldMasterMkLst>
          <pc:docMk/>
          <pc:sldMasterMk cId="2753873327" sldId="2147483712"/>
        </pc:sldMasterMkLst>
        <pc:spChg chg="mod">
          <ac:chgData name="Hietalahti, Hannu (Nokia - FI/Oulu)" userId="bcd6d86d-9ffc-4aa1-b5a6-083a51dd89a7" providerId="ADAL" clId="{4832C16D-2887-4BFA-A36D-2D79DD9237B3}" dt="2021-04-22T06:45:39.112" v="3" actId="20577"/>
          <ac:spMkLst>
            <pc:docMk/>
            <pc:sldMasterMk cId="2753873327" sldId="2147483712"/>
            <ac:spMk id="7" creationId="{4AC1947E-906A-46AD-9413-1921F00F19AB}"/>
          </ac:spMkLst>
        </pc:spChg>
      </pc:sldMasterChg>
    </pc:docChg>
  </pc:docChgLst>
  <pc:docChgLst>
    <pc:chgData name="Isomaki, Markus (Nokia - FI/Espoo)" userId="e09dec62-93e3-4c70-8b77-3ffff629182a" providerId="ADAL" clId="{AA84314D-FAF0-4064-BE6E-9AEB1F30F2DA}"/>
    <pc:docChg chg="custSel addSld delSld modSld">
      <pc:chgData name="Isomaki, Markus (Nokia - FI/Espoo)" userId="e09dec62-93e3-4c70-8b77-3ffff629182a" providerId="ADAL" clId="{AA84314D-FAF0-4064-BE6E-9AEB1F30F2DA}" dt="2022-09-08T14:32:08.693" v="511" actId="47"/>
      <pc:docMkLst>
        <pc:docMk/>
      </pc:docMkLst>
      <pc:sldChg chg="modSp add mod">
        <pc:chgData name="Isomaki, Markus (Nokia - FI/Espoo)" userId="e09dec62-93e3-4c70-8b77-3ffff629182a" providerId="ADAL" clId="{AA84314D-FAF0-4064-BE6E-9AEB1F30F2DA}" dt="2022-09-08T14:17:49.558" v="269" actId="403"/>
        <pc:sldMkLst>
          <pc:docMk/>
          <pc:sldMk cId="3101478688" sldId="2146846950"/>
        </pc:sldMkLst>
        <pc:spChg chg="mod">
          <ac:chgData name="Isomaki, Markus (Nokia - FI/Espoo)" userId="e09dec62-93e3-4c70-8b77-3ffff629182a" providerId="ADAL" clId="{AA84314D-FAF0-4064-BE6E-9AEB1F30F2DA}" dt="2022-09-08T14:17:49.558" v="269" actId="403"/>
          <ac:spMkLst>
            <pc:docMk/>
            <pc:sldMk cId="3101478688" sldId="2146846950"/>
            <ac:spMk id="4" creationId="{FD9B9349-5219-4A4E-8125-7E6F849D4C07}"/>
          </ac:spMkLst>
        </pc:spChg>
      </pc:sldChg>
      <pc:sldChg chg="addSp modSp add mod">
        <pc:chgData name="Isomaki, Markus (Nokia - FI/Espoo)" userId="e09dec62-93e3-4c70-8b77-3ffff629182a" providerId="ADAL" clId="{AA84314D-FAF0-4064-BE6E-9AEB1F30F2DA}" dt="2022-09-08T14:26:11.512" v="372" actId="20577"/>
        <pc:sldMkLst>
          <pc:docMk/>
          <pc:sldMk cId="4106468363" sldId="2146846951"/>
        </pc:sldMkLst>
        <pc:spChg chg="mod">
          <ac:chgData name="Isomaki, Markus (Nokia - FI/Espoo)" userId="e09dec62-93e3-4c70-8b77-3ffff629182a" providerId="ADAL" clId="{AA84314D-FAF0-4064-BE6E-9AEB1F30F2DA}" dt="2022-09-08T14:24:37.338" v="282" actId="1076"/>
          <ac:spMkLst>
            <pc:docMk/>
            <pc:sldMk cId="4106468363" sldId="2146846951"/>
            <ac:spMk id="4" creationId="{FD9B9349-5219-4A4E-8125-7E6F849D4C07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5" creationId="{C6B18DA9-9FD7-432E-9919-2F70C2903B62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7" creationId="{4A987B30-B40E-4C58-A6DD-3C05F7E9E918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8" creationId="{3DA7A44A-36CD-4D55-8057-F32B392433CC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9" creationId="{A7155E1F-D752-4578-B3AB-89995606161E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10" creationId="{F7977F17-A99B-4FE6-8540-2EAE6CCEADD3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11" creationId="{617D2A87-1F75-4007-8A41-BA61F01C7D8D}"/>
          </ac:spMkLst>
        </pc:spChg>
        <pc:spChg chg="add mod">
          <ac:chgData name="Isomaki, Markus (Nokia - FI/Espoo)" userId="e09dec62-93e3-4c70-8b77-3ffff629182a" providerId="ADAL" clId="{AA84314D-FAF0-4064-BE6E-9AEB1F30F2DA}" dt="2022-09-08T14:25:05.225" v="305" actId="20577"/>
          <ac:spMkLst>
            <pc:docMk/>
            <pc:sldMk cId="4106468363" sldId="2146846951"/>
            <ac:spMk id="12" creationId="{47461597-B463-4F84-987C-5A32D03FA126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13" creationId="{CB97FA9C-DEE6-4AC9-A78F-44F31BD7C894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27" creationId="{623653BF-EC7A-4308-9059-15875813EBE9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28" creationId="{ED6F37AC-7B27-41CA-97B5-5BEA01EB4603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29" creationId="{96DE73AA-9E95-4F2B-A2BF-F8058822387B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30" creationId="{EDD64B00-7672-4DD6-8CA1-AD3A712BD47D}"/>
          </ac:spMkLst>
        </pc:spChg>
        <pc:spChg chg="add mod">
          <ac:chgData name="Isomaki, Markus (Nokia - FI/Espoo)" userId="e09dec62-93e3-4c70-8b77-3ffff629182a" providerId="ADAL" clId="{AA84314D-FAF0-4064-BE6E-9AEB1F30F2DA}" dt="2022-09-08T14:24:19.329" v="280" actId="1076"/>
          <ac:spMkLst>
            <pc:docMk/>
            <pc:sldMk cId="4106468363" sldId="2146846951"/>
            <ac:spMk id="31" creationId="{17E65D5A-B651-4E84-9D52-A2D280C41A5D}"/>
          </ac:spMkLst>
        </pc:spChg>
        <pc:spChg chg="add mod">
          <ac:chgData name="Isomaki, Markus (Nokia - FI/Espoo)" userId="e09dec62-93e3-4c70-8b77-3ffff629182a" providerId="ADAL" clId="{AA84314D-FAF0-4064-BE6E-9AEB1F30F2DA}" dt="2022-09-08T14:26:11.512" v="372" actId="20577"/>
          <ac:spMkLst>
            <pc:docMk/>
            <pc:sldMk cId="4106468363" sldId="2146846951"/>
            <ac:spMk id="32" creationId="{3DC9E2B0-CE25-4089-AB60-043C7F977616}"/>
          </ac:spMkLst>
        </pc:spChg>
        <pc:spChg chg="add mod">
          <ac:chgData name="Isomaki, Markus (Nokia - FI/Espoo)" userId="e09dec62-93e3-4c70-8b77-3ffff629182a" providerId="ADAL" clId="{AA84314D-FAF0-4064-BE6E-9AEB1F30F2DA}" dt="2022-09-08T14:25:46.193" v="333" actId="20577"/>
          <ac:spMkLst>
            <pc:docMk/>
            <pc:sldMk cId="4106468363" sldId="2146846951"/>
            <ac:spMk id="33" creationId="{1CE1B592-E9E6-469B-AA70-4D6EAF94F0CB}"/>
          </ac:spMkLst>
        </pc:spChg>
        <pc:spChg chg="add mod">
          <ac:chgData name="Isomaki, Markus (Nokia - FI/Espoo)" userId="e09dec62-93e3-4c70-8b77-3ffff629182a" providerId="ADAL" clId="{AA84314D-FAF0-4064-BE6E-9AEB1F30F2DA}" dt="2022-09-08T14:24:28.973" v="281" actId="1076"/>
          <ac:spMkLst>
            <pc:docMk/>
            <pc:sldMk cId="4106468363" sldId="2146846951"/>
            <ac:spMk id="34" creationId="{9E35A625-5974-4DE6-A7E8-D27EBFBE53CF}"/>
          </ac:spMkLst>
        </pc:spChg>
        <pc:picChg chg="add mod">
          <ac:chgData name="Isomaki, Markus (Nokia - FI/Espoo)" userId="e09dec62-93e3-4c70-8b77-3ffff629182a" providerId="ADAL" clId="{AA84314D-FAF0-4064-BE6E-9AEB1F30F2DA}" dt="2022-09-08T14:24:19.329" v="280" actId="1076"/>
          <ac:picMkLst>
            <pc:docMk/>
            <pc:sldMk cId="4106468363" sldId="2146846951"/>
            <ac:picMk id="18" creationId="{F2296918-10F2-4DE6-A2F4-2DBAF0C6EE75}"/>
          </ac:picMkLst>
        </pc:picChg>
        <pc:picChg chg="add mod">
          <ac:chgData name="Isomaki, Markus (Nokia - FI/Espoo)" userId="e09dec62-93e3-4c70-8b77-3ffff629182a" providerId="ADAL" clId="{AA84314D-FAF0-4064-BE6E-9AEB1F30F2DA}" dt="2022-09-08T14:24:19.329" v="280" actId="1076"/>
          <ac:picMkLst>
            <pc:docMk/>
            <pc:sldMk cId="4106468363" sldId="2146846951"/>
            <ac:picMk id="19" creationId="{025CE18E-7DEF-4D21-A1FC-B60573F6DD12}"/>
          </ac:picMkLst>
        </pc:picChg>
        <pc:picChg chg="add mod">
          <ac:chgData name="Isomaki, Markus (Nokia - FI/Espoo)" userId="e09dec62-93e3-4c70-8b77-3ffff629182a" providerId="ADAL" clId="{AA84314D-FAF0-4064-BE6E-9AEB1F30F2DA}" dt="2022-09-08T14:24:19.329" v="280" actId="1076"/>
          <ac:picMkLst>
            <pc:docMk/>
            <pc:sldMk cId="4106468363" sldId="2146846951"/>
            <ac:picMk id="20" creationId="{3FB31DD0-3CD4-4418-B3A8-0B8E720084B8}"/>
          </ac:picMkLst>
        </pc:pic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6" creationId="{1E6F6FF0-7CA0-46AE-A938-8C35E18A9AEC}"/>
          </ac:cxnSpMkLst>
        </pc:cxn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14" creationId="{E5F0ED1A-21AF-471B-B051-4146C33A65B5}"/>
          </ac:cxnSpMkLst>
        </pc:cxn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15" creationId="{54406D01-DCBC-4C7B-8934-F4456BF832BC}"/>
          </ac:cxnSpMkLst>
        </pc:cxn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16" creationId="{8AEBECDE-CDEF-4BA4-9B11-DD722F400E8D}"/>
          </ac:cxnSpMkLst>
        </pc:cxn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17" creationId="{49966AAE-B6C8-4ECE-9E02-4D55747C4D00}"/>
          </ac:cxnSpMkLst>
        </pc:cxn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21" creationId="{751DADE8-1ECD-4ED0-8795-27CE29352E73}"/>
          </ac:cxnSpMkLst>
        </pc:cxn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22" creationId="{680026B0-B89B-4BA6-AE89-51264AD6FF66}"/>
          </ac:cxnSpMkLst>
        </pc:cxn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23" creationId="{113A36FC-4FA2-4943-B532-90B9251F1909}"/>
          </ac:cxnSpMkLst>
        </pc:cxn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24" creationId="{9FB8C749-C24A-48D9-B46C-2C629062CF74}"/>
          </ac:cxnSpMkLst>
        </pc:cxn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25" creationId="{AF255CFA-8398-448B-9CAE-B0A6F08EAEA4}"/>
          </ac:cxnSpMkLst>
        </pc:cxnChg>
        <pc:cxnChg chg="add mod">
          <ac:chgData name="Isomaki, Markus (Nokia - FI/Espoo)" userId="e09dec62-93e3-4c70-8b77-3ffff629182a" providerId="ADAL" clId="{AA84314D-FAF0-4064-BE6E-9AEB1F30F2DA}" dt="2022-09-08T14:24:19.329" v="280" actId="1076"/>
          <ac:cxnSpMkLst>
            <pc:docMk/>
            <pc:sldMk cId="4106468363" sldId="2146846951"/>
            <ac:cxnSpMk id="26" creationId="{C96A738B-0F72-4888-A73B-637E723D29D7}"/>
          </ac:cxnSpMkLst>
        </pc:cxnChg>
      </pc:sldChg>
      <pc:sldChg chg="modSp add del mod">
        <pc:chgData name="Isomaki, Markus (Nokia - FI/Espoo)" userId="e09dec62-93e3-4c70-8b77-3ffff629182a" providerId="ADAL" clId="{AA84314D-FAF0-4064-BE6E-9AEB1F30F2DA}" dt="2022-09-08T14:32:08.693" v="511" actId="47"/>
        <pc:sldMkLst>
          <pc:docMk/>
          <pc:sldMk cId="643392161" sldId="2146846952"/>
        </pc:sldMkLst>
        <pc:spChg chg="mod">
          <ac:chgData name="Isomaki, Markus (Nokia - FI/Espoo)" userId="e09dec62-93e3-4c70-8b77-3ffff629182a" providerId="ADAL" clId="{AA84314D-FAF0-4064-BE6E-9AEB1F30F2DA}" dt="2022-09-08T14:30:29.097" v="510" actId="20577"/>
          <ac:spMkLst>
            <pc:docMk/>
            <pc:sldMk cId="643392161" sldId="2146846952"/>
            <ac:spMk id="4" creationId="{FD9B9349-5219-4A4E-8125-7E6F849D4C07}"/>
          </ac:spMkLst>
        </pc:spChg>
      </pc:sldChg>
      <pc:sldChg chg="add del">
        <pc:chgData name="Isomaki, Markus (Nokia - FI/Espoo)" userId="e09dec62-93e3-4c70-8b77-3ffff629182a" providerId="ADAL" clId="{AA84314D-FAF0-4064-BE6E-9AEB1F30F2DA}" dt="2022-09-08T14:19:23.252" v="271"/>
        <pc:sldMkLst>
          <pc:docMk/>
          <pc:sldMk cId="4254268771" sldId="2147470263"/>
        </pc:sldMkLst>
      </pc:sldChg>
    </pc:docChg>
  </pc:docChgLst>
  <pc:docChgLst>
    <pc:chgData name="Devaki Chandramouli (Nokia)" userId="S::devaki.chandramouli@nokia.com::ebf2a9f8-651b-4485-926f-9d93c0eafbc5" providerId="AD" clId="Web-{AC01CD2D-7167-4FDF-01A2-81490644CCE5}"/>
    <pc:docChg chg="delSld">
      <pc:chgData name="Devaki Chandramouli (Nokia)" userId="S::devaki.chandramouli@nokia.com::ebf2a9f8-651b-4485-926f-9d93c0eafbc5" providerId="AD" clId="Web-{AC01CD2D-7167-4FDF-01A2-81490644CCE5}" dt="2022-12-02T22:46:03.554" v="2"/>
      <pc:docMkLst>
        <pc:docMk/>
      </pc:docMkLst>
      <pc:sldChg chg="del">
        <pc:chgData name="Devaki Chandramouli (Nokia)" userId="S::devaki.chandramouli@nokia.com::ebf2a9f8-651b-4485-926f-9d93c0eafbc5" providerId="AD" clId="Web-{AC01CD2D-7167-4FDF-01A2-81490644CCE5}" dt="2022-12-02T22:45:56.710" v="1"/>
        <pc:sldMkLst>
          <pc:docMk/>
          <pc:sldMk cId="1419602843" sldId="874"/>
        </pc:sldMkLst>
      </pc:sldChg>
      <pc:sldChg chg="del">
        <pc:chgData name="Devaki Chandramouli (Nokia)" userId="S::devaki.chandramouli@nokia.com::ebf2a9f8-651b-4485-926f-9d93c0eafbc5" providerId="AD" clId="Web-{AC01CD2D-7167-4FDF-01A2-81490644CCE5}" dt="2022-12-02T22:45:52.788" v="0"/>
        <pc:sldMkLst>
          <pc:docMk/>
          <pc:sldMk cId="2152723967" sldId="1099"/>
        </pc:sldMkLst>
      </pc:sldChg>
      <pc:sldChg chg="del">
        <pc:chgData name="Devaki Chandramouli (Nokia)" userId="S::devaki.chandramouli@nokia.com::ebf2a9f8-651b-4485-926f-9d93c0eafbc5" providerId="AD" clId="Web-{AC01CD2D-7167-4FDF-01A2-81490644CCE5}" dt="2022-12-02T22:46:03.554" v="2"/>
        <pc:sldMkLst>
          <pc:docMk/>
          <pc:sldMk cId="908993029" sldId="2134805527"/>
        </pc:sldMkLst>
      </pc:sldChg>
    </pc:docChg>
  </pc:docChgLst>
  <pc:docChgLst>
    <pc:chgData name="Chandramouli, Devaki (Nokia - US/Dallas)" userId="S::devaki.chandramouli@nokia.com::ebf2a9f8-651b-4485-926f-9d93c0eafbc5" providerId="AD" clId="Web-{C08BC0FB-2F68-9C96-114E-0F2309F199AF}"/>
    <pc:docChg chg="addSld delSld">
      <pc:chgData name="Chandramouli, Devaki (Nokia - US/Dallas)" userId="S::devaki.chandramouli@nokia.com::ebf2a9f8-651b-4485-926f-9d93c0eafbc5" providerId="AD" clId="Web-{C08BC0FB-2F68-9C96-114E-0F2309F199AF}" dt="2022-03-06T18:26:32.693" v="1"/>
      <pc:docMkLst>
        <pc:docMk/>
      </pc:docMkLst>
      <pc:sldChg chg="new del">
        <pc:chgData name="Chandramouli, Devaki (Nokia - US/Dallas)" userId="S::devaki.chandramouli@nokia.com::ebf2a9f8-651b-4485-926f-9d93c0eafbc5" providerId="AD" clId="Web-{C08BC0FB-2F68-9C96-114E-0F2309F199AF}" dt="2022-03-06T18:26:32.693" v="1"/>
        <pc:sldMkLst>
          <pc:docMk/>
          <pc:sldMk cId="2827965770" sldId="2146846815"/>
        </pc:sldMkLst>
      </pc:sldChg>
    </pc:docChg>
  </pc:docChgLst>
  <pc:docChgLst>
    <pc:chgData name="Singh, Shubhranshu (Nokia - DE/Munich)" userId="097f1207-65ae-4ec2-ab78-00d0c1d73a58" providerId="ADAL" clId="{C9F8CA20-C738-4462-B1DF-0977CADDE5E9}"/>
    <pc:docChg chg="undo custSel addSld delSld modSld">
      <pc:chgData name="Singh, Shubhranshu (Nokia - DE/Munich)" userId="097f1207-65ae-4ec2-ab78-00d0c1d73a58" providerId="ADAL" clId="{C9F8CA20-C738-4462-B1DF-0977CADDE5E9}" dt="2022-09-08T13:05:25.722" v="1052" actId="47"/>
      <pc:docMkLst>
        <pc:docMk/>
      </pc:docMkLst>
      <pc:sldChg chg="addSp delSp modSp del mod">
        <pc:chgData name="Singh, Shubhranshu (Nokia - DE/Munich)" userId="097f1207-65ae-4ec2-ab78-00d0c1d73a58" providerId="ADAL" clId="{C9F8CA20-C738-4462-B1DF-0977CADDE5E9}" dt="2022-09-08T12:54:11.323" v="733" actId="47"/>
        <pc:sldMkLst>
          <pc:docMk/>
          <pc:sldMk cId="3855098636" sldId="2146846892"/>
        </pc:sldMkLst>
        <pc:spChg chg="add del mod">
          <ac:chgData name="Singh, Shubhranshu (Nokia - DE/Munich)" userId="097f1207-65ae-4ec2-ab78-00d0c1d73a58" providerId="ADAL" clId="{C9F8CA20-C738-4462-B1DF-0977CADDE5E9}" dt="2022-09-08T12:52:23.277" v="720" actId="108"/>
          <ac:spMkLst>
            <pc:docMk/>
            <pc:sldMk cId="3855098636" sldId="2146846892"/>
            <ac:spMk id="3" creationId="{D0754C28-CFD3-4377-9B05-E5FB0270DECE}"/>
          </ac:spMkLst>
        </pc:spChg>
        <pc:spChg chg="add del mod">
          <ac:chgData name="Singh, Shubhranshu (Nokia - DE/Munich)" userId="097f1207-65ae-4ec2-ab78-00d0c1d73a58" providerId="ADAL" clId="{C9F8CA20-C738-4462-B1DF-0977CADDE5E9}" dt="2022-09-08T12:51:34.576" v="712"/>
          <ac:spMkLst>
            <pc:docMk/>
            <pc:sldMk cId="3855098636" sldId="2146846892"/>
            <ac:spMk id="7" creationId="{747A7777-6FB2-41E1-827D-03FD6559F727}"/>
          </ac:spMkLst>
        </pc:spChg>
        <pc:spChg chg="mod">
          <ac:chgData name="Singh, Shubhranshu (Nokia - DE/Munich)" userId="097f1207-65ae-4ec2-ab78-00d0c1d73a58" providerId="ADAL" clId="{C9F8CA20-C738-4462-B1DF-0977CADDE5E9}" dt="2022-09-08T12:51:59.185" v="715" actId="14100"/>
          <ac:spMkLst>
            <pc:docMk/>
            <pc:sldMk cId="3855098636" sldId="2146846892"/>
            <ac:spMk id="9" creationId="{3E60BB1F-AF44-4664-8CEC-F2FE76B9C832}"/>
          </ac:spMkLst>
        </pc:spChg>
        <pc:spChg chg="add del mod">
          <ac:chgData name="Singh, Shubhranshu (Nokia - DE/Munich)" userId="097f1207-65ae-4ec2-ab78-00d0c1d73a58" providerId="ADAL" clId="{C9F8CA20-C738-4462-B1DF-0977CADDE5E9}" dt="2022-09-08T12:51:53.618" v="714"/>
          <ac:spMkLst>
            <pc:docMk/>
            <pc:sldMk cId="3855098636" sldId="2146846892"/>
            <ac:spMk id="10" creationId="{73F64D04-6B4F-45E5-86BD-17F1B09E284E}"/>
          </ac:spMkLst>
        </pc:spChg>
        <pc:spChg chg="del">
          <ac:chgData name="Singh, Shubhranshu (Nokia - DE/Munich)" userId="097f1207-65ae-4ec2-ab78-00d0c1d73a58" providerId="ADAL" clId="{C9F8CA20-C738-4462-B1DF-0977CADDE5E9}" dt="2022-09-08T12:51:26.625" v="710" actId="478"/>
          <ac:spMkLst>
            <pc:docMk/>
            <pc:sldMk cId="3855098636" sldId="2146846892"/>
            <ac:spMk id="29698" creationId="{00000000-0000-0000-0000-000000000000}"/>
          </ac:spMkLst>
        </pc:spChg>
        <pc:graphicFrameChg chg="del">
          <ac:chgData name="Singh, Shubhranshu (Nokia - DE/Munich)" userId="097f1207-65ae-4ec2-ab78-00d0c1d73a58" providerId="ADAL" clId="{C9F8CA20-C738-4462-B1DF-0977CADDE5E9}" dt="2022-09-08T12:50:01.789" v="708" actId="478"/>
          <ac:graphicFrameMkLst>
            <pc:docMk/>
            <pc:sldMk cId="3855098636" sldId="2146846892"/>
            <ac:graphicFrameMk id="8" creationId="{B1057381-7A7D-43B0-B0C6-816801715E2D}"/>
          </ac:graphicFrameMkLst>
        </pc:graphicFrameChg>
      </pc:sldChg>
      <pc:sldChg chg="modSp add mod">
        <pc:chgData name="Singh, Shubhranshu (Nokia - DE/Munich)" userId="097f1207-65ae-4ec2-ab78-00d0c1d73a58" providerId="ADAL" clId="{C9F8CA20-C738-4462-B1DF-0977CADDE5E9}" dt="2022-09-08T12:46:41.795" v="707" actId="6549"/>
        <pc:sldMkLst>
          <pc:docMk/>
          <pc:sldMk cId="2197479594" sldId="2146846944"/>
        </pc:sldMkLst>
        <pc:spChg chg="mod">
          <ac:chgData name="Singh, Shubhranshu (Nokia - DE/Munich)" userId="097f1207-65ae-4ec2-ab78-00d0c1d73a58" providerId="ADAL" clId="{C9F8CA20-C738-4462-B1DF-0977CADDE5E9}" dt="2022-09-08T12:46:41.795" v="707" actId="6549"/>
          <ac:spMkLst>
            <pc:docMk/>
            <pc:sldMk cId="2197479594" sldId="2146846944"/>
            <ac:spMk id="4" creationId="{CD72C33D-DF40-4601-AF02-8DFD5A6EA958}"/>
          </ac:spMkLst>
        </pc:spChg>
      </pc:sldChg>
      <pc:sldChg chg="modSp add mod">
        <pc:chgData name="Singh, Shubhranshu (Nokia - DE/Munich)" userId="097f1207-65ae-4ec2-ab78-00d0c1d73a58" providerId="ADAL" clId="{C9F8CA20-C738-4462-B1DF-0977CADDE5E9}" dt="2022-09-08T12:46:26.736" v="703" actId="5793"/>
        <pc:sldMkLst>
          <pc:docMk/>
          <pc:sldMk cId="3303555974" sldId="2146846945"/>
        </pc:sldMkLst>
        <pc:spChg chg="mod">
          <ac:chgData name="Singh, Shubhranshu (Nokia - DE/Munich)" userId="097f1207-65ae-4ec2-ab78-00d0c1d73a58" providerId="ADAL" clId="{C9F8CA20-C738-4462-B1DF-0977CADDE5E9}" dt="2022-09-08T12:46:26.736" v="703" actId="5793"/>
          <ac:spMkLst>
            <pc:docMk/>
            <pc:sldMk cId="3303555974" sldId="2146846945"/>
            <ac:spMk id="4" creationId="{CD72C33D-DF40-4601-AF02-8DFD5A6EA958}"/>
          </ac:spMkLst>
        </pc:spChg>
      </pc:sldChg>
      <pc:sldChg chg="addSp delSp modSp add mod">
        <pc:chgData name="Singh, Shubhranshu (Nokia - DE/Munich)" userId="097f1207-65ae-4ec2-ab78-00d0c1d73a58" providerId="ADAL" clId="{C9F8CA20-C738-4462-B1DF-0977CADDE5E9}" dt="2022-09-08T13:00:30.368" v="980" actId="6549"/>
        <pc:sldMkLst>
          <pc:docMk/>
          <pc:sldMk cId="1448980900" sldId="2146846946"/>
        </pc:sldMkLst>
        <pc:spChg chg="add del mod">
          <ac:chgData name="Singh, Shubhranshu (Nokia - DE/Munich)" userId="097f1207-65ae-4ec2-ab78-00d0c1d73a58" providerId="ADAL" clId="{C9F8CA20-C738-4462-B1DF-0977CADDE5E9}" dt="2022-09-08T12:53:13.955" v="728"/>
          <ac:spMkLst>
            <pc:docMk/>
            <pc:sldMk cId="1448980900" sldId="2146846946"/>
            <ac:spMk id="2" creationId="{9F31353A-D41F-4CEF-B45F-7706562425B6}"/>
          </ac:spMkLst>
        </pc:spChg>
        <pc:spChg chg="mod">
          <ac:chgData name="Singh, Shubhranshu (Nokia - DE/Munich)" userId="097f1207-65ae-4ec2-ab78-00d0c1d73a58" providerId="ADAL" clId="{C9F8CA20-C738-4462-B1DF-0977CADDE5E9}" dt="2022-09-08T12:53:06.157" v="727"/>
          <ac:spMkLst>
            <pc:docMk/>
            <pc:sldMk cId="1448980900" sldId="2146846946"/>
            <ac:spMk id="3" creationId="{79F23BEF-877A-4273-A1A7-C381CB9FFA3C}"/>
          </ac:spMkLst>
        </pc:spChg>
        <pc:spChg chg="add del mod">
          <ac:chgData name="Singh, Shubhranshu (Nokia - DE/Munich)" userId="097f1207-65ae-4ec2-ab78-00d0c1d73a58" providerId="ADAL" clId="{C9F8CA20-C738-4462-B1DF-0977CADDE5E9}" dt="2022-09-08T12:52:48.657" v="724" actId="478"/>
          <ac:spMkLst>
            <pc:docMk/>
            <pc:sldMk cId="1448980900" sldId="2146846946"/>
            <ac:spMk id="5" creationId="{F5A6ED7C-ADFE-4851-AF9F-F18BBD63E873}"/>
          </ac:spMkLst>
        </pc:spChg>
        <pc:spChg chg="mod">
          <ac:chgData name="Singh, Shubhranshu (Nokia - DE/Munich)" userId="097f1207-65ae-4ec2-ab78-00d0c1d73a58" providerId="ADAL" clId="{C9F8CA20-C738-4462-B1DF-0977CADDE5E9}" dt="2022-09-08T13:00:30.368" v="980" actId="6549"/>
          <ac:spMkLst>
            <pc:docMk/>
            <pc:sldMk cId="1448980900" sldId="2146846946"/>
            <ac:spMk id="8" creationId="{F33D3D28-799C-427F-86FD-5638A2F8CB9D}"/>
          </ac:spMkLst>
        </pc:spChg>
      </pc:sldChg>
      <pc:sldChg chg="modSp add mod">
        <pc:chgData name="Singh, Shubhranshu (Nokia - DE/Munich)" userId="097f1207-65ae-4ec2-ab78-00d0c1d73a58" providerId="ADAL" clId="{C9F8CA20-C738-4462-B1DF-0977CADDE5E9}" dt="2022-09-08T13:01:36.214" v="989" actId="20577"/>
        <pc:sldMkLst>
          <pc:docMk/>
          <pc:sldMk cId="1192268341" sldId="2146846947"/>
        </pc:sldMkLst>
        <pc:spChg chg="mod">
          <ac:chgData name="Singh, Shubhranshu (Nokia - DE/Munich)" userId="097f1207-65ae-4ec2-ab78-00d0c1d73a58" providerId="ADAL" clId="{C9F8CA20-C738-4462-B1DF-0977CADDE5E9}" dt="2022-09-08T13:01:36.214" v="989" actId="20577"/>
          <ac:spMkLst>
            <pc:docMk/>
            <pc:sldMk cId="1192268341" sldId="2146846947"/>
            <ac:spMk id="8" creationId="{F33D3D28-799C-427F-86FD-5638A2F8CB9D}"/>
          </ac:spMkLst>
        </pc:spChg>
      </pc:sldChg>
      <pc:sldChg chg="modSp add mod">
        <pc:chgData name="Singh, Shubhranshu (Nokia - DE/Munich)" userId="097f1207-65ae-4ec2-ab78-00d0c1d73a58" providerId="ADAL" clId="{C9F8CA20-C738-4462-B1DF-0977CADDE5E9}" dt="2022-09-08T13:02:44.480" v="1006" actId="20577"/>
        <pc:sldMkLst>
          <pc:docMk/>
          <pc:sldMk cId="3399087062" sldId="2146846948"/>
        </pc:sldMkLst>
        <pc:spChg chg="mod">
          <ac:chgData name="Singh, Shubhranshu (Nokia - DE/Munich)" userId="097f1207-65ae-4ec2-ab78-00d0c1d73a58" providerId="ADAL" clId="{C9F8CA20-C738-4462-B1DF-0977CADDE5E9}" dt="2022-09-08T13:02:44.480" v="1006" actId="20577"/>
          <ac:spMkLst>
            <pc:docMk/>
            <pc:sldMk cId="3399087062" sldId="2146846948"/>
            <ac:spMk id="8" creationId="{F33D3D28-799C-427F-86FD-5638A2F8CB9D}"/>
          </ac:spMkLst>
        </pc:spChg>
      </pc:sldChg>
      <pc:sldChg chg="modSp add mod">
        <pc:chgData name="Singh, Shubhranshu (Nokia - DE/Munich)" userId="097f1207-65ae-4ec2-ab78-00d0c1d73a58" providerId="ADAL" clId="{C9F8CA20-C738-4462-B1DF-0977CADDE5E9}" dt="2022-09-08T13:05:23.549" v="1051"/>
        <pc:sldMkLst>
          <pc:docMk/>
          <pc:sldMk cId="4135317378" sldId="2146846949"/>
        </pc:sldMkLst>
        <pc:spChg chg="mod">
          <ac:chgData name="Singh, Shubhranshu (Nokia - DE/Munich)" userId="097f1207-65ae-4ec2-ab78-00d0c1d73a58" providerId="ADAL" clId="{C9F8CA20-C738-4462-B1DF-0977CADDE5E9}" dt="2022-09-08T13:05:23.549" v="1051"/>
          <ac:spMkLst>
            <pc:docMk/>
            <pc:sldMk cId="4135317378" sldId="2146846949"/>
            <ac:spMk id="8" creationId="{F33D3D28-799C-427F-86FD-5638A2F8CB9D}"/>
          </ac:spMkLst>
        </pc:spChg>
      </pc:sldChg>
      <pc:sldChg chg="modSp add del mod">
        <pc:chgData name="Singh, Shubhranshu (Nokia - DE/Munich)" userId="097f1207-65ae-4ec2-ab78-00d0c1d73a58" providerId="ADAL" clId="{C9F8CA20-C738-4462-B1DF-0977CADDE5E9}" dt="2022-09-08T13:05:25.722" v="1052" actId="47"/>
        <pc:sldMkLst>
          <pc:docMk/>
          <pc:sldMk cId="1872962474" sldId="2146846950"/>
        </pc:sldMkLst>
        <pc:spChg chg="mod">
          <ac:chgData name="Singh, Shubhranshu (Nokia - DE/Munich)" userId="097f1207-65ae-4ec2-ab78-00d0c1d73a58" providerId="ADAL" clId="{C9F8CA20-C738-4462-B1DF-0977CADDE5E9}" dt="2022-09-08T13:05:13.003" v="1050" actId="20577"/>
          <ac:spMkLst>
            <pc:docMk/>
            <pc:sldMk cId="1872962474" sldId="2146846950"/>
            <ac:spMk id="8" creationId="{F33D3D28-799C-427F-86FD-5638A2F8CB9D}"/>
          </ac:spMkLst>
        </pc:spChg>
      </pc:sldChg>
      <pc:sldMasterChg chg="delSldLayout">
        <pc:chgData name="Singh, Shubhranshu (Nokia - DE/Munich)" userId="097f1207-65ae-4ec2-ab78-00d0c1d73a58" providerId="ADAL" clId="{C9F8CA20-C738-4462-B1DF-0977CADDE5E9}" dt="2022-09-08T12:54:11.323" v="733" actId="47"/>
        <pc:sldMasterMkLst>
          <pc:docMk/>
          <pc:sldMasterMk cId="4241891639" sldId="2147483650"/>
        </pc:sldMasterMkLst>
        <pc:sldLayoutChg chg="del">
          <pc:chgData name="Singh, Shubhranshu (Nokia - DE/Munich)" userId="097f1207-65ae-4ec2-ab78-00d0c1d73a58" providerId="ADAL" clId="{C9F8CA20-C738-4462-B1DF-0977CADDE5E9}" dt="2022-09-08T12:54:11.323" v="733" actId="47"/>
          <pc:sldLayoutMkLst>
            <pc:docMk/>
            <pc:sldMasterMk cId="4241891639" sldId="2147483650"/>
            <pc:sldLayoutMk cId="404525930" sldId="2147483899"/>
          </pc:sldLayoutMkLst>
        </pc:sldLayoutChg>
      </pc:sldMasterChg>
    </pc:docChg>
  </pc:docChgLst>
  <pc:docChgLst>
    <pc:chgData name="Chandramouli, Devaki (Nokia - US/Dallas)" userId="S::devaki.chandramouli@nokia.com::ebf2a9f8-651b-4485-926f-9d93c0eafbc5" providerId="AD" clId="Web-{3D942842-E434-7EA1-EBFE-0B83D7E228AD}"/>
    <pc:docChg chg="modSld">
      <pc:chgData name="Chandramouli, Devaki (Nokia - US/Dallas)" userId="S::devaki.chandramouli@nokia.com::ebf2a9f8-651b-4485-926f-9d93c0eafbc5" providerId="AD" clId="Web-{3D942842-E434-7EA1-EBFE-0B83D7E228AD}" dt="2020-06-22T22:42:48.463" v="18" actId="20577"/>
      <pc:docMkLst>
        <pc:docMk/>
      </pc:docMkLst>
      <pc:sldChg chg="modSp">
        <pc:chgData name="Chandramouli, Devaki (Nokia - US/Dallas)" userId="S::devaki.chandramouli@nokia.com::ebf2a9f8-651b-4485-926f-9d93c0eafbc5" providerId="AD" clId="Web-{3D942842-E434-7EA1-EBFE-0B83D7E228AD}" dt="2020-06-22T22:42:48.447" v="17" actId="20577"/>
        <pc:sldMkLst>
          <pc:docMk/>
          <pc:sldMk cId="1886061748" sldId="355"/>
        </pc:sldMkLst>
        <pc:spChg chg="mod">
          <ac:chgData name="Chandramouli, Devaki (Nokia - US/Dallas)" userId="S::devaki.chandramouli@nokia.com::ebf2a9f8-651b-4485-926f-9d93c0eafbc5" providerId="AD" clId="Web-{3D942842-E434-7EA1-EBFE-0B83D7E228AD}" dt="2020-06-22T22:42:48.447" v="17" actId="20577"/>
          <ac:spMkLst>
            <pc:docMk/>
            <pc:sldMk cId="1886061748" sldId="355"/>
            <ac:spMk id="4" creationId="{5C8D5078-B8D0-4095-8466-64F7613FE8A6}"/>
          </ac:spMkLst>
        </pc:spChg>
      </pc:sldChg>
    </pc:docChg>
  </pc:docChgLst>
  <pc:docChgLst>
    <pc:chgData name="Shen, Sherry (NSB - CN/Beijing)" userId="acf2e5cf-b8b4-4ce6-81c0-0dc594513efe" providerId="ADAL" clId="{46786CE6-ECEF-40D9-BD40-BE0B1AE8FFE2}"/>
    <pc:docChg chg="undo custSel modSld sldOrd">
      <pc:chgData name="Shen, Sherry (NSB - CN/Beijing)" userId="acf2e5cf-b8b4-4ce6-81c0-0dc594513efe" providerId="ADAL" clId="{46786CE6-ECEF-40D9-BD40-BE0B1AE8FFE2}" dt="2020-06-23T09:32:44.111" v="553" actId="27636"/>
      <pc:docMkLst>
        <pc:docMk/>
      </pc:docMkLst>
      <pc:sldChg chg="addSp delSp modSp">
        <pc:chgData name="Shen, Sherry (NSB - CN/Beijing)" userId="acf2e5cf-b8b4-4ce6-81c0-0dc594513efe" providerId="ADAL" clId="{46786CE6-ECEF-40D9-BD40-BE0B1AE8FFE2}" dt="2020-06-23T09:27:28.354" v="544" actId="14100"/>
        <pc:sldMkLst>
          <pc:docMk/>
          <pc:sldMk cId="2153956218" sldId="360"/>
        </pc:sldMkLst>
        <pc:spChg chg="mod">
          <ac:chgData name="Shen, Sherry (NSB - CN/Beijing)" userId="acf2e5cf-b8b4-4ce6-81c0-0dc594513efe" providerId="ADAL" clId="{46786CE6-ECEF-40D9-BD40-BE0B1AE8FFE2}" dt="2020-06-23T09:27:28.354" v="544" actId="14100"/>
          <ac:spMkLst>
            <pc:docMk/>
            <pc:sldMk cId="2153956218" sldId="360"/>
            <ac:spMk id="4" creationId="{5C8D5078-B8D0-4095-8466-64F7613FE8A6}"/>
          </ac:spMkLst>
        </pc:spChg>
        <pc:spChg chg="add del mod">
          <ac:chgData name="Shen, Sherry (NSB - CN/Beijing)" userId="acf2e5cf-b8b4-4ce6-81c0-0dc594513efe" providerId="ADAL" clId="{46786CE6-ECEF-40D9-BD40-BE0B1AE8FFE2}" dt="2020-06-23T08:32:41.283" v="330" actId="478"/>
          <ac:spMkLst>
            <pc:docMk/>
            <pc:sldMk cId="2153956218" sldId="360"/>
            <ac:spMk id="5" creationId="{C388766D-5514-4E2F-BD34-43E175EB8A3A}"/>
          </ac:spMkLst>
        </pc:spChg>
        <pc:spChg chg="add mod">
          <ac:chgData name="Shen, Sherry (NSB - CN/Beijing)" userId="acf2e5cf-b8b4-4ce6-81c0-0dc594513efe" providerId="ADAL" clId="{46786CE6-ECEF-40D9-BD40-BE0B1AE8FFE2}" dt="2020-06-23T09:27:00.328" v="539" actId="1076"/>
          <ac:spMkLst>
            <pc:docMk/>
            <pc:sldMk cId="2153956218" sldId="360"/>
            <ac:spMk id="7" creationId="{CCF28B37-5D0A-48A7-B3DB-FDD64314BB84}"/>
          </ac:spMkLst>
        </pc:spChg>
        <pc:spChg chg="add mod">
          <ac:chgData name="Shen, Sherry (NSB - CN/Beijing)" userId="acf2e5cf-b8b4-4ce6-81c0-0dc594513efe" providerId="ADAL" clId="{46786CE6-ECEF-40D9-BD40-BE0B1AE8FFE2}" dt="2020-06-23T09:26:53.786" v="537" actId="1076"/>
          <ac:spMkLst>
            <pc:docMk/>
            <pc:sldMk cId="2153956218" sldId="360"/>
            <ac:spMk id="8" creationId="{57E467FA-4E94-40B6-B49D-164F8F569FF8}"/>
          </ac:spMkLst>
        </pc:spChg>
        <pc:spChg chg="add mod">
          <ac:chgData name="Shen, Sherry (NSB - CN/Beijing)" userId="acf2e5cf-b8b4-4ce6-81c0-0dc594513efe" providerId="ADAL" clId="{46786CE6-ECEF-40D9-BD40-BE0B1AE8FFE2}" dt="2020-06-23T09:26:45.262" v="536" actId="1076"/>
          <ac:spMkLst>
            <pc:docMk/>
            <pc:sldMk cId="2153956218" sldId="360"/>
            <ac:spMk id="9" creationId="{59874989-DDD4-40DF-A7F2-F7117E71939B}"/>
          </ac:spMkLst>
        </pc:spChg>
        <pc:spChg chg="add mod">
          <ac:chgData name="Shen, Sherry (NSB - CN/Beijing)" userId="acf2e5cf-b8b4-4ce6-81c0-0dc594513efe" providerId="ADAL" clId="{46786CE6-ECEF-40D9-BD40-BE0B1AE8FFE2}" dt="2020-06-23T09:26:57.305" v="538" actId="1076"/>
          <ac:spMkLst>
            <pc:docMk/>
            <pc:sldMk cId="2153956218" sldId="360"/>
            <ac:spMk id="10" creationId="{289D4915-29F3-4E42-B568-BD58F3C3F315}"/>
          </ac:spMkLst>
        </pc:spChg>
        <pc:spChg chg="add mod">
          <ac:chgData name="Shen, Sherry (NSB - CN/Beijing)" userId="acf2e5cf-b8b4-4ce6-81c0-0dc594513efe" providerId="ADAL" clId="{46786CE6-ECEF-40D9-BD40-BE0B1AE8FFE2}" dt="2020-06-23T09:27:03.028" v="540" actId="1076"/>
          <ac:spMkLst>
            <pc:docMk/>
            <pc:sldMk cId="2153956218" sldId="360"/>
            <ac:spMk id="11" creationId="{6092154B-C8C7-4976-AAD8-871E11370A9F}"/>
          </ac:spMkLst>
        </pc:spChg>
        <pc:spChg chg="add del mod">
          <ac:chgData name="Shen, Sherry (NSB - CN/Beijing)" userId="acf2e5cf-b8b4-4ce6-81c0-0dc594513efe" providerId="ADAL" clId="{46786CE6-ECEF-40D9-BD40-BE0B1AE8FFE2}" dt="2020-06-23T09:11:41.231" v="421" actId="478"/>
          <ac:spMkLst>
            <pc:docMk/>
            <pc:sldMk cId="2153956218" sldId="360"/>
            <ac:spMk id="12" creationId="{95E2AA42-6575-42AB-9B6B-00B5193AE47E}"/>
          </ac:spMkLst>
        </pc:spChg>
        <pc:spChg chg="add del mod">
          <ac:chgData name="Shen, Sherry (NSB - CN/Beijing)" userId="acf2e5cf-b8b4-4ce6-81c0-0dc594513efe" providerId="ADAL" clId="{46786CE6-ECEF-40D9-BD40-BE0B1AE8FFE2}" dt="2020-06-23T09:19:21.976" v="433" actId="478"/>
          <ac:spMkLst>
            <pc:docMk/>
            <pc:sldMk cId="2153956218" sldId="360"/>
            <ac:spMk id="13" creationId="{C9889D46-7F49-4CB4-8FB8-BBDD44EC2F34}"/>
          </ac:spMkLst>
        </pc:spChg>
        <pc:spChg chg="add del mod">
          <ac:chgData name="Shen, Sherry (NSB - CN/Beijing)" userId="acf2e5cf-b8b4-4ce6-81c0-0dc594513efe" providerId="ADAL" clId="{46786CE6-ECEF-40D9-BD40-BE0B1AE8FFE2}" dt="2020-06-23T09:20:48.537" v="471" actId="478"/>
          <ac:spMkLst>
            <pc:docMk/>
            <pc:sldMk cId="2153956218" sldId="360"/>
            <ac:spMk id="14" creationId="{0E60DF42-1231-4335-8890-EF5DBF7539FA}"/>
          </ac:spMkLst>
        </pc:spChg>
        <pc:graphicFrameChg chg="add mod">
          <ac:chgData name="Shen, Sherry (NSB - CN/Beijing)" userId="acf2e5cf-b8b4-4ce6-81c0-0dc594513efe" providerId="ADAL" clId="{46786CE6-ECEF-40D9-BD40-BE0B1AE8FFE2}" dt="2020-06-23T09:26:42.730" v="535" actId="14100"/>
          <ac:graphicFrameMkLst>
            <pc:docMk/>
            <pc:sldMk cId="2153956218" sldId="360"/>
            <ac:graphicFrameMk id="6" creationId="{7C70A7B4-6BE2-4F71-8B75-3FFA7FAAE597}"/>
          </ac:graphicFrameMkLst>
        </pc:graphicFrameChg>
      </pc:sldChg>
      <pc:sldChg chg="modSp">
        <pc:chgData name="Shen, Sherry (NSB - CN/Beijing)" userId="acf2e5cf-b8b4-4ce6-81c0-0dc594513efe" providerId="ADAL" clId="{46786CE6-ECEF-40D9-BD40-BE0B1AE8FFE2}" dt="2020-06-23T09:32:44.111" v="553" actId="27636"/>
        <pc:sldMkLst>
          <pc:docMk/>
          <pc:sldMk cId="4096749430" sldId="363"/>
        </pc:sldMkLst>
        <pc:spChg chg="mod">
          <ac:chgData name="Shen, Sherry (NSB - CN/Beijing)" userId="acf2e5cf-b8b4-4ce6-81c0-0dc594513efe" providerId="ADAL" clId="{46786CE6-ECEF-40D9-BD40-BE0B1AE8FFE2}" dt="2020-06-23T09:32:44.111" v="553" actId="27636"/>
          <ac:spMkLst>
            <pc:docMk/>
            <pc:sldMk cId="4096749430" sldId="363"/>
            <ac:spMk id="4" creationId="{5C8D5078-B8D0-4095-8466-64F7613FE8A6}"/>
          </ac:spMkLst>
        </pc:spChg>
      </pc:sldChg>
      <pc:sldChg chg="addSp delSp modSp ord">
        <pc:chgData name="Shen, Sherry (NSB - CN/Beijing)" userId="acf2e5cf-b8b4-4ce6-81c0-0dc594513efe" providerId="ADAL" clId="{46786CE6-ECEF-40D9-BD40-BE0B1AE8FFE2}" dt="2020-06-23T09:24:28.037" v="516" actId="14100"/>
        <pc:sldMkLst>
          <pc:docMk/>
          <pc:sldMk cId="180175294" sldId="385"/>
        </pc:sldMkLst>
        <pc:spChg chg="mod">
          <ac:chgData name="Shen, Sherry (NSB - CN/Beijing)" userId="acf2e5cf-b8b4-4ce6-81c0-0dc594513efe" providerId="ADAL" clId="{46786CE6-ECEF-40D9-BD40-BE0B1AE8FFE2}" dt="2020-06-23T09:24:28.037" v="516" actId="14100"/>
          <ac:spMkLst>
            <pc:docMk/>
            <pc:sldMk cId="180175294" sldId="385"/>
            <ac:spMk id="4" creationId="{5C8D5078-B8D0-4095-8466-64F7613FE8A6}"/>
          </ac:spMkLst>
        </pc:spChg>
        <pc:spChg chg="add del">
          <ac:chgData name="Shen, Sherry (NSB - CN/Beijing)" userId="acf2e5cf-b8b4-4ce6-81c0-0dc594513efe" providerId="ADAL" clId="{46786CE6-ECEF-40D9-BD40-BE0B1AE8FFE2}" dt="2020-06-23T08:25:00.288" v="300" actId="478"/>
          <ac:spMkLst>
            <pc:docMk/>
            <pc:sldMk cId="180175294" sldId="385"/>
            <ac:spMk id="5" creationId="{0D4EAD11-6371-467B-A155-0F791B53040A}"/>
          </ac:spMkLst>
        </pc:spChg>
        <pc:spChg chg="add del">
          <ac:chgData name="Shen, Sherry (NSB - CN/Beijing)" userId="acf2e5cf-b8b4-4ce6-81c0-0dc594513efe" providerId="ADAL" clId="{46786CE6-ECEF-40D9-BD40-BE0B1AE8FFE2}" dt="2020-06-23T08:24:11.424" v="268"/>
          <ac:spMkLst>
            <pc:docMk/>
            <pc:sldMk cId="180175294" sldId="385"/>
            <ac:spMk id="6" creationId="{1F3FB6ED-39C1-4561-878B-60D42320A103}"/>
          </ac:spMkLst>
        </pc:spChg>
        <pc:spChg chg="add mod">
          <ac:chgData name="Shen, Sherry (NSB - CN/Beijing)" userId="acf2e5cf-b8b4-4ce6-81c0-0dc594513efe" providerId="ADAL" clId="{46786CE6-ECEF-40D9-BD40-BE0B1AE8FFE2}" dt="2020-06-23T08:28:14.537" v="307" actId="1076"/>
          <ac:spMkLst>
            <pc:docMk/>
            <pc:sldMk cId="180175294" sldId="385"/>
            <ac:spMk id="7" creationId="{193ABD7E-3D46-4B5B-ADD9-E6E70D7E6726}"/>
          </ac:spMkLst>
        </pc:spChg>
        <pc:graphicFrameChg chg="add mod">
          <ac:chgData name="Shen, Sherry (NSB - CN/Beijing)" userId="acf2e5cf-b8b4-4ce6-81c0-0dc594513efe" providerId="ADAL" clId="{46786CE6-ECEF-40D9-BD40-BE0B1AE8FFE2}" dt="2020-06-23T08:28:29.270" v="308" actId="1076"/>
          <ac:graphicFrameMkLst>
            <pc:docMk/>
            <pc:sldMk cId="180175294" sldId="385"/>
            <ac:graphicFrameMk id="8" creationId="{4E0901D5-C2A5-4549-8CEF-689B5896EF1F}"/>
          </ac:graphicFrameMkLst>
        </pc:graphicFrameChg>
      </pc:sldChg>
      <pc:sldChg chg="delSp modSp">
        <pc:chgData name="Shen, Sherry (NSB - CN/Beijing)" userId="acf2e5cf-b8b4-4ce6-81c0-0dc594513efe" providerId="ADAL" clId="{46786CE6-ECEF-40D9-BD40-BE0B1AE8FFE2}" dt="2020-06-23T09:26:15.324" v="529" actId="1076"/>
        <pc:sldMkLst>
          <pc:docMk/>
          <pc:sldMk cId="1397588467" sldId="387"/>
        </pc:sldMkLst>
        <pc:spChg chg="mod">
          <ac:chgData name="Shen, Sherry (NSB - CN/Beijing)" userId="acf2e5cf-b8b4-4ce6-81c0-0dc594513efe" providerId="ADAL" clId="{46786CE6-ECEF-40D9-BD40-BE0B1AE8FFE2}" dt="2020-06-23T09:26:15.324" v="529" actId="1076"/>
          <ac:spMkLst>
            <pc:docMk/>
            <pc:sldMk cId="1397588467" sldId="387"/>
            <ac:spMk id="4" creationId="{5C8D5078-B8D0-4095-8466-64F7613FE8A6}"/>
          </ac:spMkLst>
        </pc:spChg>
        <pc:spChg chg="del">
          <ac:chgData name="Shen, Sherry (NSB - CN/Beijing)" userId="acf2e5cf-b8b4-4ce6-81c0-0dc594513efe" providerId="ADAL" clId="{46786CE6-ECEF-40D9-BD40-BE0B1AE8FFE2}" dt="2020-06-23T09:25:50.109" v="523" actId="478"/>
          <ac:spMkLst>
            <pc:docMk/>
            <pc:sldMk cId="1397588467" sldId="387"/>
            <ac:spMk id="7" creationId="{CCF28B37-5D0A-48A7-B3DB-FDD64314BB84}"/>
          </ac:spMkLst>
        </pc:spChg>
        <pc:spChg chg="del">
          <ac:chgData name="Shen, Sherry (NSB - CN/Beijing)" userId="acf2e5cf-b8b4-4ce6-81c0-0dc594513efe" providerId="ADAL" clId="{46786CE6-ECEF-40D9-BD40-BE0B1AE8FFE2}" dt="2020-06-23T09:25:46.347" v="521" actId="478"/>
          <ac:spMkLst>
            <pc:docMk/>
            <pc:sldMk cId="1397588467" sldId="387"/>
            <ac:spMk id="8" creationId="{57E467FA-4E94-40B6-B49D-164F8F569FF8}"/>
          </ac:spMkLst>
        </pc:spChg>
        <pc:spChg chg="del">
          <ac:chgData name="Shen, Sherry (NSB - CN/Beijing)" userId="acf2e5cf-b8b4-4ce6-81c0-0dc594513efe" providerId="ADAL" clId="{46786CE6-ECEF-40D9-BD40-BE0B1AE8FFE2}" dt="2020-06-23T09:25:43.610" v="519" actId="478"/>
          <ac:spMkLst>
            <pc:docMk/>
            <pc:sldMk cId="1397588467" sldId="387"/>
            <ac:spMk id="9" creationId="{59874989-DDD4-40DF-A7F2-F7117E71939B}"/>
          </ac:spMkLst>
        </pc:spChg>
        <pc:spChg chg="del">
          <ac:chgData name="Shen, Sherry (NSB - CN/Beijing)" userId="acf2e5cf-b8b4-4ce6-81c0-0dc594513efe" providerId="ADAL" clId="{46786CE6-ECEF-40D9-BD40-BE0B1AE8FFE2}" dt="2020-06-23T09:25:45.076" v="520" actId="478"/>
          <ac:spMkLst>
            <pc:docMk/>
            <pc:sldMk cId="1397588467" sldId="387"/>
            <ac:spMk id="10" creationId="{289D4915-29F3-4E42-B568-BD58F3C3F315}"/>
          </ac:spMkLst>
        </pc:spChg>
        <pc:spChg chg="del">
          <ac:chgData name="Shen, Sherry (NSB - CN/Beijing)" userId="acf2e5cf-b8b4-4ce6-81c0-0dc594513efe" providerId="ADAL" clId="{46786CE6-ECEF-40D9-BD40-BE0B1AE8FFE2}" dt="2020-06-23T09:25:48.285" v="522" actId="478"/>
          <ac:spMkLst>
            <pc:docMk/>
            <pc:sldMk cId="1397588467" sldId="387"/>
            <ac:spMk id="11" creationId="{6092154B-C8C7-4976-AAD8-871E11370A9F}"/>
          </ac:spMkLst>
        </pc:spChg>
        <pc:graphicFrameChg chg="del">
          <ac:chgData name="Shen, Sherry (NSB - CN/Beijing)" userId="acf2e5cf-b8b4-4ce6-81c0-0dc594513efe" providerId="ADAL" clId="{46786CE6-ECEF-40D9-BD40-BE0B1AE8FFE2}" dt="2020-06-23T09:25:41.273" v="518" actId="478"/>
          <ac:graphicFrameMkLst>
            <pc:docMk/>
            <pc:sldMk cId="1397588467" sldId="387"/>
            <ac:graphicFrameMk id="6" creationId="{7C70A7B4-6BE2-4F71-8B75-3FFA7FAAE597}"/>
          </ac:graphicFrameMkLst>
        </pc:graphicFrameChg>
      </pc:sldChg>
    </pc:docChg>
  </pc:docChgLst>
  <pc:docChgLst>
    <pc:chgData name="Thomas Belling (Nokia)" userId="38e53bf5-7a59-41ec-8bf1-bf611b810166" providerId="ADAL" clId="{25692E14-0C21-46E2-A9AF-6A02E934CF4C}"/>
    <pc:docChg chg="undo redo custSel addSld delSld modSld">
      <pc:chgData name="Thomas Belling (Nokia)" userId="38e53bf5-7a59-41ec-8bf1-bf611b810166" providerId="ADAL" clId="{25692E14-0C21-46E2-A9AF-6A02E934CF4C}" dt="2023-03-06T11:00:30.508" v="1759" actId="20577"/>
      <pc:docMkLst>
        <pc:docMk/>
      </pc:docMkLst>
      <pc:sldChg chg="modSp mod">
        <pc:chgData name="Thomas Belling (Nokia)" userId="38e53bf5-7a59-41ec-8bf1-bf611b810166" providerId="ADAL" clId="{25692E14-0C21-46E2-A9AF-6A02E934CF4C}" dt="2023-03-06T10:47:30.424" v="1400"/>
        <pc:sldMkLst>
          <pc:docMk/>
          <pc:sldMk cId="2852115066" sldId="2134805601"/>
        </pc:sldMkLst>
        <pc:spChg chg="mod">
          <ac:chgData name="Thomas Belling (Nokia)" userId="38e53bf5-7a59-41ec-8bf1-bf611b810166" providerId="ADAL" clId="{25692E14-0C21-46E2-A9AF-6A02E934CF4C}" dt="2023-03-06T10:47:30.424" v="1400"/>
          <ac:spMkLst>
            <pc:docMk/>
            <pc:sldMk cId="2852115066" sldId="2134805601"/>
            <ac:spMk id="4" creationId="{B91515A7-343D-47E8-82B8-D58ED83CD3B1}"/>
          </ac:spMkLst>
        </pc:spChg>
      </pc:sldChg>
      <pc:sldChg chg="del">
        <pc:chgData name="Thomas Belling (Nokia)" userId="38e53bf5-7a59-41ec-8bf1-bf611b810166" providerId="ADAL" clId="{25692E14-0C21-46E2-A9AF-6A02E934CF4C}" dt="2023-03-06T10:35:51.224" v="1252" actId="47"/>
        <pc:sldMkLst>
          <pc:docMk/>
          <pc:sldMk cId="3001884198" sldId="2146846794"/>
        </pc:sldMkLst>
      </pc:sldChg>
      <pc:sldChg chg="modSp mod">
        <pc:chgData name="Thomas Belling (Nokia)" userId="38e53bf5-7a59-41ec-8bf1-bf611b810166" providerId="ADAL" clId="{25692E14-0C21-46E2-A9AF-6A02E934CF4C}" dt="2023-03-06T10:51:52.862" v="1452" actId="20577"/>
        <pc:sldMkLst>
          <pc:docMk/>
          <pc:sldMk cId="2043978815" sldId="2146846908"/>
        </pc:sldMkLst>
        <pc:spChg chg="mod">
          <ac:chgData name="Thomas Belling (Nokia)" userId="38e53bf5-7a59-41ec-8bf1-bf611b810166" providerId="ADAL" clId="{25692E14-0C21-46E2-A9AF-6A02E934CF4C}" dt="2023-03-06T10:51:52.862" v="1452" actId="20577"/>
          <ac:spMkLst>
            <pc:docMk/>
            <pc:sldMk cId="2043978815" sldId="2146846908"/>
            <ac:spMk id="2" creationId="{828AE646-029C-43F1-BE54-1B04A2DEF02D}"/>
          </ac:spMkLst>
        </pc:spChg>
        <pc:spChg chg="mod">
          <ac:chgData name="Thomas Belling (Nokia)" userId="38e53bf5-7a59-41ec-8bf1-bf611b810166" providerId="ADAL" clId="{25692E14-0C21-46E2-A9AF-6A02E934CF4C}" dt="2023-03-06T10:42:01.598" v="1289" actId="6549"/>
          <ac:spMkLst>
            <pc:docMk/>
            <pc:sldMk cId="2043978815" sldId="2146846908"/>
            <ac:spMk id="3" creationId="{B048C618-39BC-4B3E-A0B8-FE581AEF965F}"/>
          </ac:spMkLst>
        </pc:spChg>
      </pc:sldChg>
      <pc:sldChg chg="del">
        <pc:chgData name="Thomas Belling (Nokia)" userId="38e53bf5-7a59-41ec-8bf1-bf611b810166" providerId="ADAL" clId="{25692E14-0C21-46E2-A9AF-6A02E934CF4C}" dt="2023-03-06T10:35:51.224" v="1252" actId="47"/>
        <pc:sldMkLst>
          <pc:docMk/>
          <pc:sldMk cId="708562166" sldId="2146846909"/>
        </pc:sldMkLst>
      </pc:sldChg>
      <pc:sldChg chg="modSp mod">
        <pc:chgData name="Thomas Belling (Nokia)" userId="38e53bf5-7a59-41ec-8bf1-bf611b810166" providerId="ADAL" clId="{25692E14-0C21-46E2-A9AF-6A02E934CF4C}" dt="2023-03-06T10:53:51.065" v="1470" actId="20577"/>
        <pc:sldMkLst>
          <pc:docMk/>
          <pc:sldMk cId="4241780383" sldId="2146846932"/>
        </pc:sldMkLst>
        <pc:spChg chg="mod">
          <ac:chgData name="Thomas Belling (Nokia)" userId="38e53bf5-7a59-41ec-8bf1-bf611b810166" providerId="ADAL" clId="{25692E14-0C21-46E2-A9AF-6A02E934CF4C}" dt="2023-03-06T10:53:51.065" v="1470" actId="20577"/>
          <ac:spMkLst>
            <pc:docMk/>
            <pc:sldMk cId="4241780383" sldId="2146846932"/>
            <ac:spMk id="4" creationId="{CD72C33D-DF40-4601-AF02-8DFD5A6EA958}"/>
          </ac:spMkLst>
        </pc:spChg>
      </pc:sldChg>
      <pc:sldChg chg="del">
        <pc:chgData name="Thomas Belling (Nokia)" userId="38e53bf5-7a59-41ec-8bf1-bf611b810166" providerId="ADAL" clId="{25692E14-0C21-46E2-A9AF-6A02E934CF4C}" dt="2023-03-06T10:35:51.224" v="1252" actId="47"/>
        <pc:sldMkLst>
          <pc:docMk/>
          <pc:sldMk cId="2863261531" sldId="2146846955"/>
        </pc:sldMkLst>
      </pc:sldChg>
      <pc:sldChg chg="modSp mod">
        <pc:chgData name="Thomas Belling (Nokia)" userId="38e53bf5-7a59-41ec-8bf1-bf611b810166" providerId="ADAL" clId="{25692E14-0C21-46E2-A9AF-6A02E934CF4C}" dt="2023-03-06T11:00:30.508" v="1759" actId="20577"/>
        <pc:sldMkLst>
          <pc:docMk/>
          <pc:sldMk cId="1001977197" sldId="2146846974"/>
        </pc:sldMkLst>
        <pc:spChg chg="mod">
          <ac:chgData name="Thomas Belling (Nokia)" userId="38e53bf5-7a59-41ec-8bf1-bf611b810166" providerId="ADAL" clId="{25692E14-0C21-46E2-A9AF-6A02E934CF4C}" dt="2023-03-06T11:00:30.508" v="1759" actId="20577"/>
          <ac:spMkLst>
            <pc:docMk/>
            <pc:sldMk cId="1001977197" sldId="2146846974"/>
            <ac:spMk id="4" creationId="{FC0D3EA9-8686-465E-AF3E-02775AA807DF}"/>
          </ac:spMkLst>
        </pc:spChg>
      </pc:sldChg>
      <pc:sldChg chg="modSp mod">
        <pc:chgData name="Thomas Belling (Nokia)" userId="38e53bf5-7a59-41ec-8bf1-bf611b810166" providerId="ADAL" clId="{25692E14-0C21-46E2-A9AF-6A02E934CF4C}" dt="2023-03-06T10:57:45.630" v="1635" actId="20577"/>
        <pc:sldMkLst>
          <pc:docMk/>
          <pc:sldMk cId="996509344" sldId="2146846975"/>
        </pc:sldMkLst>
        <pc:spChg chg="mod">
          <ac:chgData name="Thomas Belling (Nokia)" userId="38e53bf5-7a59-41ec-8bf1-bf611b810166" providerId="ADAL" clId="{25692E14-0C21-46E2-A9AF-6A02E934CF4C}" dt="2023-03-06T10:57:45.630" v="1635" actId="20577"/>
          <ac:spMkLst>
            <pc:docMk/>
            <pc:sldMk cId="996509344" sldId="2146846975"/>
            <ac:spMk id="4" creationId="{FC0D3EA9-8686-465E-AF3E-02775AA807DF}"/>
          </ac:spMkLst>
        </pc:spChg>
      </pc:sldChg>
      <pc:sldChg chg="modSp new mod">
        <pc:chgData name="Thomas Belling (Nokia)" userId="38e53bf5-7a59-41ec-8bf1-bf611b810166" providerId="ADAL" clId="{25692E14-0C21-46E2-A9AF-6A02E934CF4C}" dt="2023-03-06T10:52:21.104" v="1457" actId="404"/>
        <pc:sldMkLst>
          <pc:docMk/>
          <pc:sldMk cId="219433634" sldId="2146847026"/>
        </pc:sldMkLst>
        <pc:spChg chg="mod">
          <ac:chgData name="Thomas Belling (Nokia)" userId="38e53bf5-7a59-41ec-8bf1-bf611b810166" providerId="ADAL" clId="{25692E14-0C21-46E2-A9AF-6A02E934CF4C}" dt="2023-03-06T10:52:21.104" v="1457" actId="404"/>
          <ac:spMkLst>
            <pc:docMk/>
            <pc:sldMk cId="219433634" sldId="2146847026"/>
            <ac:spMk id="2" creationId="{82D60777-B9CC-4A5B-ABE0-290018737D1B}"/>
          </ac:spMkLst>
        </pc:spChg>
        <pc:spChg chg="mod">
          <ac:chgData name="Thomas Belling (Nokia)" userId="38e53bf5-7a59-41ec-8bf1-bf611b810166" providerId="ADAL" clId="{25692E14-0C21-46E2-A9AF-6A02E934CF4C}" dt="2023-03-06T10:43:18.978" v="1298" actId="21"/>
          <ac:spMkLst>
            <pc:docMk/>
            <pc:sldMk cId="219433634" sldId="2146847026"/>
            <ac:spMk id="3" creationId="{C7A396B7-4E34-4F12-B337-0FBDECF81B46}"/>
          </ac:spMkLst>
        </pc:spChg>
        <pc:spChg chg="mod">
          <ac:chgData name="Thomas Belling (Nokia)" userId="38e53bf5-7a59-41ec-8bf1-bf611b810166" providerId="ADAL" clId="{25692E14-0C21-46E2-A9AF-6A02E934CF4C}" dt="2023-03-06T10:52:13.215" v="1455" actId="14100"/>
          <ac:spMkLst>
            <pc:docMk/>
            <pc:sldMk cId="219433634" sldId="2146847026"/>
            <ac:spMk id="4" creationId="{EC84B38C-A66F-4038-B858-727AE3E3D27E}"/>
          </ac:spMkLst>
        </pc:spChg>
      </pc:sldChg>
    </pc:docChg>
  </pc:docChgLst>
  <pc:docChgLst>
    <pc:chgData name="Shubhranshu Singh (Nokia)" userId="097f1207-65ae-4ec2-ab78-00d0c1d73a58" providerId="ADAL" clId="{66FDE9B9-5B5D-480F-B70E-465531A8D9B3}"/>
    <pc:docChg chg="addSld delSld modSld">
      <pc:chgData name="Shubhranshu Singh (Nokia)" userId="097f1207-65ae-4ec2-ab78-00d0c1d73a58" providerId="ADAL" clId="{66FDE9B9-5B5D-480F-B70E-465531A8D9B3}" dt="2022-12-05T15:50:01.357" v="9" actId="47"/>
      <pc:docMkLst>
        <pc:docMk/>
      </pc:docMkLst>
      <pc:sldChg chg="add del">
        <pc:chgData name="Shubhranshu Singh (Nokia)" userId="097f1207-65ae-4ec2-ab78-00d0c1d73a58" providerId="ADAL" clId="{66FDE9B9-5B5D-480F-B70E-465531A8D9B3}" dt="2022-12-05T15:50:00.285" v="8" actId="47"/>
        <pc:sldMkLst>
          <pc:docMk/>
          <pc:sldMk cId="0" sldId="363"/>
        </pc:sldMkLst>
      </pc:sldChg>
      <pc:sldChg chg="add del">
        <pc:chgData name="Shubhranshu Singh (Nokia)" userId="097f1207-65ae-4ec2-ab78-00d0c1d73a58" providerId="ADAL" clId="{66FDE9B9-5B5D-480F-B70E-465531A8D9B3}" dt="2022-12-05T15:50:01.357" v="9" actId="47"/>
        <pc:sldMkLst>
          <pc:docMk/>
          <pc:sldMk cId="0" sldId="2134805349"/>
        </pc:sldMkLst>
      </pc:sldChg>
      <pc:sldChg chg="add del">
        <pc:chgData name="Shubhranshu Singh (Nokia)" userId="097f1207-65ae-4ec2-ab78-00d0c1d73a58" providerId="ADAL" clId="{66FDE9B9-5B5D-480F-B70E-465531A8D9B3}" dt="2022-12-05T15:44:03.558" v="2"/>
        <pc:sldMkLst>
          <pc:docMk/>
          <pc:sldMk cId="1569506345" sldId="2146846826"/>
        </pc:sldMkLst>
      </pc:sldChg>
      <pc:sldChg chg="add del">
        <pc:chgData name="Shubhranshu Singh (Nokia)" userId="097f1207-65ae-4ec2-ab78-00d0c1d73a58" providerId="ADAL" clId="{66FDE9B9-5B5D-480F-B70E-465531A8D9B3}" dt="2022-12-05T15:44:03.558" v="2"/>
        <pc:sldMkLst>
          <pc:docMk/>
          <pc:sldMk cId="266136393" sldId="2146846827"/>
        </pc:sldMkLst>
      </pc:sldChg>
      <pc:sldChg chg="add del">
        <pc:chgData name="Shubhranshu Singh (Nokia)" userId="097f1207-65ae-4ec2-ab78-00d0c1d73a58" providerId="ADAL" clId="{66FDE9B9-5B5D-480F-B70E-465531A8D9B3}" dt="2022-12-05T15:44:03.558" v="2"/>
        <pc:sldMkLst>
          <pc:docMk/>
          <pc:sldMk cId="184335226" sldId="2146846828"/>
        </pc:sldMkLst>
      </pc:sldChg>
      <pc:sldChg chg="del">
        <pc:chgData name="Shubhranshu Singh (Nokia)" userId="097f1207-65ae-4ec2-ab78-00d0c1d73a58" providerId="ADAL" clId="{66FDE9B9-5B5D-480F-B70E-465531A8D9B3}" dt="2022-12-05T15:44:41.276" v="6" actId="47"/>
        <pc:sldMkLst>
          <pc:docMk/>
          <pc:sldMk cId="1448980900" sldId="2146846946"/>
        </pc:sldMkLst>
      </pc:sldChg>
      <pc:sldChg chg="del">
        <pc:chgData name="Shubhranshu Singh (Nokia)" userId="097f1207-65ae-4ec2-ab78-00d0c1d73a58" providerId="ADAL" clId="{66FDE9B9-5B5D-480F-B70E-465531A8D9B3}" dt="2022-12-05T15:44:24.779" v="3" actId="47"/>
        <pc:sldMkLst>
          <pc:docMk/>
          <pc:sldMk cId="1192268341" sldId="2146846947"/>
        </pc:sldMkLst>
      </pc:sldChg>
      <pc:sldChg chg="del">
        <pc:chgData name="Shubhranshu Singh (Nokia)" userId="097f1207-65ae-4ec2-ab78-00d0c1d73a58" providerId="ADAL" clId="{66FDE9B9-5B5D-480F-B70E-465531A8D9B3}" dt="2022-12-05T15:44:26.655" v="4" actId="47"/>
        <pc:sldMkLst>
          <pc:docMk/>
          <pc:sldMk cId="3399087062" sldId="2146846948"/>
        </pc:sldMkLst>
      </pc:sldChg>
      <pc:sldChg chg="add del">
        <pc:chgData name="Shubhranshu Singh (Nokia)" userId="097f1207-65ae-4ec2-ab78-00d0c1d73a58" providerId="ADAL" clId="{66FDE9B9-5B5D-480F-B70E-465531A8D9B3}" dt="2022-12-05T15:43:58.487" v="1"/>
        <pc:sldMkLst>
          <pc:docMk/>
          <pc:sldMk cId="1502542555" sldId="2146846986"/>
        </pc:sldMkLst>
      </pc:sldChg>
      <pc:sldChg chg="add del">
        <pc:chgData name="Shubhranshu Singh (Nokia)" userId="097f1207-65ae-4ec2-ab78-00d0c1d73a58" providerId="ADAL" clId="{66FDE9B9-5B5D-480F-B70E-465531A8D9B3}" dt="2022-12-05T15:44:33.604" v="5" actId="47"/>
        <pc:sldMkLst>
          <pc:docMk/>
          <pc:sldMk cId="3086941874" sldId="2146846986"/>
        </pc:sldMkLst>
      </pc:sldChg>
      <pc:sldChg chg="add">
        <pc:chgData name="Shubhranshu Singh (Nokia)" userId="097f1207-65ae-4ec2-ab78-00d0c1d73a58" providerId="ADAL" clId="{66FDE9B9-5B5D-480F-B70E-465531A8D9B3}" dt="2022-12-05T15:49:57.652" v="7"/>
        <pc:sldMkLst>
          <pc:docMk/>
          <pc:sldMk cId="3858645594" sldId="2146846988"/>
        </pc:sldMkLst>
      </pc:sldChg>
      <pc:sldChg chg="add">
        <pc:chgData name="Shubhranshu Singh (Nokia)" userId="097f1207-65ae-4ec2-ab78-00d0c1d73a58" providerId="ADAL" clId="{66FDE9B9-5B5D-480F-B70E-465531A8D9B3}" dt="2022-12-05T15:49:57.652" v="7"/>
        <pc:sldMkLst>
          <pc:docMk/>
          <pc:sldMk cId="343947404" sldId="2146846989"/>
        </pc:sldMkLst>
      </pc:sldChg>
      <pc:sldMasterChg chg="delSldLayout">
        <pc:chgData name="Shubhranshu Singh (Nokia)" userId="097f1207-65ae-4ec2-ab78-00d0c1d73a58" providerId="ADAL" clId="{66FDE9B9-5B5D-480F-B70E-465531A8D9B3}" dt="2022-12-05T15:50:01.357" v="9" actId="47"/>
        <pc:sldMasterMkLst>
          <pc:docMk/>
          <pc:sldMasterMk cId="4241891639" sldId="2147483650"/>
        </pc:sldMasterMkLst>
        <pc:sldLayoutChg chg="del">
          <pc:chgData name="Shubhranshu Singh (Nokia)" userId="097f1207-65ae-4ec2-ab78-00d0c1d73a58" providerId="ADAL" clId="{66FDE9B9-5B5D-480F-B70E-465531A8D9B3}" dt="2022-12-05T15:50:01.357" v="9" actId="47"/>
          <pc:sldLayoutMkLst>
            <pc:docMk/>
            <pc:sldMasterMk cId="4241891639" sldId="2147483650"/>
            <pc:sldLayoutMk cId="2677774659" sldId="2147483793"/>
          </pc:sldLayoutMkLst>
        </pc:sldLayoutChg>
      </pc:sldMasterChg>
    </pc:docChg>
  </pc:docChgLst>
  <pc:docChgLst>
    <pc:chgData name="Devaki Chandramouli (Nokia)" userId="S::devaki.chandramouli@nokia.com::ebf2a9f8-651b-4485-926f-9d93c0eafbc5" providerId="AD" clId="Web-{B4F7E6D7-B4C7-CE32-246D-48FDF5B6EBE2}"/>
    <pc:docChg chg="addSld modSld">
      <pc:chgData name="Devaki Chandramouli (Nokia)" userId="S::devaki.chandramouli@nokia.com::ebf2a9f8-651b-4485-926f-9d93c0eafbc5" providerId="AD" clId="Web-{B4F7E6D7-B4C7-CE32-246D-48FDF5B6EBE2}" dt="2023-03-04T01:24:09.258" v="32" actId="20577"/>
      <pc:docMkLst>
        <pc:docMk/>
      </pc:docMkLst>
      <pc:sldChg chg="modSp">
        <pc:chgData name="Devaki Chandramouli (Nokia)" userId="S::devaki.chandramouli@nokia.com::ebf2a9f8-651b-4485-926f-9d93c0eafbc5" providerId="AD" clId="Web-{B4F7E6D7-B4C7-CE32-246D-48FDF5B6EBE2}" dt="2023-03-04T01:24:09.258" v="32" actId="20577"/>
        <pc:sldMkLst>
          <pc:docMk/>
          <pc:sldMk cId="2649463080" sldId="2134805617"/>
        </pc:sldMkLst>
        <pc:spChg chg="mod">
          <ac:chgData name="Devaki Chandramouli (Nokia)" userId="S::devaki.chandramouli@nokia.com::ebf2a9f8-651b-4485-926f-9d93c0eafbc5" providerId="AD" clId="Web-{B4F7E6D7-B4C7-CE32-246D-48FDF5B6EBE2}" dt="2023-03-04T01:24:09.258" v="32" actId="20577"/>
          <ac:spMkLst>
            <pc:docMk/>
            <pc:sldMk cId="2649463080" sldId="2134805617"/>
            <ac:spMk id="4" creationId="{FD9B9349-5219-4A4E-8125-7E6F849D4C07}"/>
          </ac:spMkLst>
        </pc:spChg>
      </pc:sldChg>
      <pc:sldChg chg="modSp">
        <pc:chgData name="Devaki Chandramouli (Nokia)" userId="S::devaki.chandramouli@nokia.com::ebf2a9f8-651b-4485-926f-9d93c0eafbc5" providerId="AD" clId="Web-{B4F7E6D7-B4C7-CE32-246D-48FDF5B6EBE2}" dt="2023-03-04T01:19:36.547" v="3" actId="20577"/>
        <pc:sldMkLst>
          <pc:docMk/>
          <pc:sldMk cId="3082976717" sldId="2146846969"/>
        </pc:sldMkLst>
        <pc:spChg chg="mod">
          <ac:chgData name="Devaki Chandramouli (Nokia)" userId="S::devaki.chandramouli@nokia.com::ebf2a9f8-651b-4485-926f-9d93c0eafbc5" providerId="AD" clId="Web-{B4F7E6D7-B4C7-CE32-246D-48FDF5B6EBE2}" dt="2023-03-04T01:19:36.547" v="3" actId="20577"/>
          <ac:spMkLst>
            <pc:docMk/>
            <pc:sldMk cId="3082976717" sldId="2146846969"/>
            <ac:spMk id="4" creationId="{FD9B9349-5219-4A4E-8125-7E6F849D4C07}"/>
          </ac:spMkLst>
        </pc:spChg>
      </pc:sldChg>
      <pc:sldChg chg="modSp">
        <pc:chgData name="Devaki Chandramouli (Nokia)" userId="S::devaki.chandramouli@nokia.com::ebf2a9f8-651b-4485-926f-9d93c0eafbc5" providerId="AD" clId="Web-{B4F7E6D7-B4C7-CE32-246D-48FDF5B6EBE2}" dt="2023-03-04T01:20:41.721" v="8" actId="20577"/>
        <pc:sldMkLst>
          <pc:docMk/>
          <pc:sldMk cId="3297987572" sldId="2146846970"/>
        </pc:sldMkLst>
        <pc:spChg chg="mod">
          <ac:chgData name="Devaki Chandramouli (Nokia)" userId="S::devaki.chandramouli@nokia.com::ebf2a9f8-651b-4485-926f-9d93c0eafbc5" providerId="AD" clId="Web-{B4F7E6D7-B4C7-CE32-246D-48FDF5B6EBE2}" dt="2023-03-04T01:20:41.721" v="8" actId="20577"/>
          <ac:spMkLst>
            <pc:docMk/>
            <pc:sldMk cId="3297987572" sldId="2146846970"/>
            <ac:spMk id="4" creationId="{FD9B9349-5219-4A4E-8125-7E6F849D4C07}"/>
          </ac:spMkLst>
        </pc:spChg>
      </pc:sldChg>
      <pc:sldChg chg="modSp">
        <pc:chgData name="Devaki Chandramouli (Nokia)" userId="S::devaki.chandramouli@nokia.com::ebf2a9f8-651b-4485-926f-9d93c0eafbc5" providerId="AD" clId="Web-{B4F7E6D7-B4C7-CE32-246D-48FDF5B6EBE2}" dt="2023-03-04T01:20:55.190" v="13" actId="20577"/>
        <pc:sldMkLst>
          <pc:docMk/>
          <pc:sldMk cId="4261611388" sldId="2146846971"/>
        </pc:sldMkLst>
        <pc:spChg chg="mod">
          <ac:chgData name="Devaki Chandramouli (Nokia)" userId="S::devaki.chandramouli@nokia.com::ebf2a9f8-651b-4485-926f-9d93c0eafbc5" providerId="AD" clId="Web-{B4F7E6D7-B4C7-CE32-246D-48FDF5B6EBE2}" dt="2023-03-04T01:20:55.190" v="13" actId="20577"/>
          <ac:spMkLst>
            <pc:docMk/>
            <pc:sldMk cId="4261611388" sldId="2146846971"/>
            <ac:spMk id="4" creationId="{FD9B9349-5219-4A4E-8125-7E6F849D4C07}"/>
          </ac:spMkLst>
        </pc:spChg>
      </pc:sldChg>
      <pc:sldChg chg="modSp">
        <pc:chgData name="Devaki Chandramouli (Nokia)" userId="S::devaki.chandramouli@nokia.com::ebf2a9f8-651b-4485-926f-9d93c0eafbc5" providerId="AD" clId="Web-{B4F7E6D7-B4C7-CE32-246D-48FDF5B6EBE2}" dt="2023-03-04T01:22:10.442" v="15" actId="20577"/>
        <pc:sldMkLst>
          <pc:docMk/>
          <pc:sldMk cId="1401639605" sldId="2146846972"/>
        </pc:sldMkLst>
        <pc:spChg chg="mod">
          <ac:chgData name="Devaki Chandramouli (Nokia)" userId="S::devaki.chandramouli@nokia.com::ebf2a9f8-651b-4485-926f-9d93c0eafbc5" providerId="AD" clId="Web-{B4F7E6D7-B4C7-CE32-246D-48FDF5B6EBE2}" dt="2023-03-04T01:22:10.442" v="15" actId="20577"/>
          <ac:spMkLst>
            <pc:docMk/>
            <pc:sldMk cId="1401639605" sldId="2146846972"/>
            <ac:spMk id="4" creationId="{FD9B9349-5219-4A4E-8125-7E6F849D4C07}"/>
          </ac:spMkLst>
        </pc:spChg>
      </pc:sldChg>
      <pc:sldChg chg="modSp new">
        <pc:chgData name="Devaki Chandramouli (Nokia)" userId="S::devaki.chandramouli@nokia.com::ebf2a9f8-651b-4485-926f-9d93c0eafbc5" providerId="AD" clId="Web-{B4F7E6D7-B4C7-CE32-246D-48FDF5B6EBE2}" dt="2023-03-04T01:23:13.256" v="24" actId="20577"/>
        <pc:sldMkLst>
          <pc:docMk/>
          <pc:sldMk cId="1468079078" sldId="2146847018"/>
        </pc:sldMkLst>
        <pc:spChg chg="mod">
          <ac:chgData name="Devaki Chandramouli (Nokia)" userId="S::devaki.chandramouli@nokia.com::ebf2a9f8-651b-4485-926f-9d93c0eafbc5" providerId="AD" clId="Web-{B4F7E6D7-B4C7-CE32-246D-48FDF5B6EBE2}" dt="2023-03-04T01:22:52.959" v="21" actId="20577"/>
          <ac:spMkLst>
            <pc:docMk/>
            <pc:sldMk cId="1468079078" sldId="2146847018"/>
            <ac:spMk id="2" creationId="{67A72F55-7985-6D36-D29B-E6556BFB7D94}"/>
          </ac:spMkLst>
        </pc:spChg>
        <pc:spChg chg="mod">
          <ac:chgData name="Devaki Chandramouli (Nokia)" userId="S::devaki.chandramouli@nokia.com::ebf2a9f8-651b-4485-926f-9d93c0eafbc5" providerId="AD" clId="Web-{B4F7E6D7-B4C7-CE32-246D-48FDF5B6EBE2}" dt="2023-03-04T01:22:38.740" v="18" actId="20577"/>
          <ac:spMkLst>
            <pc:docMk/>
            <pc:sldMk cId="1468079078" sldId="2146847018"/>
            <ac:spMk id="3" creationId="{867483AA-EA26-7B67-B33F-8E07EF276FB7}"/>
          </ac:spMkLst>
        </pc:spChg>
        <pc:spChg chg="mod">
          <ac:chgData name="Devaki Chandramouli (Nokia)" userId="S::devaki.chandramouli@nokia.com::ebf2a9f8-651b-4485-926f-9d93c0eafbc5" providerId="AD" clId="Web-{B4F7E6D7-B4C7-CE32-246D-48FDF5B6EBE2}" dt="2023-03-04T01:23:13.256" v="24" actId="20577"/>
          <ac:spMkLst>
            <pc:docMk/>
            <pc:sldMk cId="1468079078" sldId="2146847018"/>
            <ac:spMk id="4" creationId="{D4415F44-DA50-291E-741C-AE4E77343C20}"/>
          </ac:spMkLst>
        </pc:spChg>
      </pc:sldChg>
    </pc:docChg>
  </pc:docChgLst>
  <pc:docChgLst>
    <pc:chgData name="Belling, Thomas (Nokia - DE/Munich)" userId="S::thomas.belling@nokia.com::38e53bf5-7a59-41ec-8bf1-bf611b810166" providerId="AD" clId="Web-{CC0613D7-6065-00DE-B204-0945DA46C597}"/>
    <pc:docChg chg="modSld">
      <pc:chgData name="Belling, Thomas (Nokia - DE/Munich)" userId="S::thomas.belling@nokia.com::38e53bf5-7a59-41ec-8bf1-bf611b810166" providerId="AD" clId="Web-{CC0613D7-6065-00DE-B204-0945DA46C597}" dt="2020-06-23T00:23:10.311" v="77" actId="20577"/>
      <pc:docMkLst>
        <pc:docMk/>
      </pc:docMkLst>
      <pc:sldChg chg="modSp">
        <pc:chgData name="Belling, Thomas (Nokia - DE/Munich)" userId="S::thomas.belling@nokia.com::38e53bf5-7a59-41ec-8bf1-bf611b810166" providerId="AD" clId="Web-{CC0613D7-6065-00DE-B204-0945DA46C597}" dt="2020-06-23T00:23:10.295" v="76" actId="20577"/>
        <pc:sldMkLst>
          <pc:docMk/>
          <pc:sldMk cId="2654578793" sldId="361"/>
        </pc:sldMkLst>
        <pc:spChg chg="mod">
          <ac:chgData name="Belling, Thomas (Nokia - DE/Munich)" userId="S::thomas.belling@nokia.com::38e53bf5-7a59-41ec-8bf1-bf611b810166" providerId="AD" clId="Web-{CC0613D7-6065-00DE-B204-0945DA46C597}" dt="2020-06-23T00:23:10.295" v="76" actId="20577"/>
          <ac:spMkLst>
            <pc:docMk/>
            <pc:sldMk cId="2654578793" sldId="361"/>
            <ac:spMk id="4" creationId="{5C8D5078-B8D0-4095-8466-64F7613FE8A6}"/>
          </ac:spMkLst>
        </pc:spChg>
      </pc:sldChg>
    </pc:docChg>
  </pc:docChgLst>
  <pc:docChgLst>
    <pc:chgData name="Cai, Simon (NSB - CN/Chengdu)" userId="37152ebf-cb41-4a71-820f-4428dc623117" providerId="ADAL" clId="{A8CB0EF4-8CB7-4C98-8F73-28BEBE522AA2}"/>
    <pc:docChg chg="undo custSel addSld modSld">
      <pc:chgData name="Cai, Simon (NSB - CN/Chengdu)" userId="37152ebf-cb41-4a71-820f-4428dc623117" providerId="ADAL" clId="{A8CB0EF4-8CB7-4C98-8F73-28BEBE522AA2}" dt="2021-11-30T07:19:57.134" v="746" actId="1076"/>
      <pc:docMkLst>
        <pc:docMk/>
      </pc:docMkLst>
      <pc:sldChg chg="add">
        <pc:chgData name="Cai, Simon (NSB - CN/Chengdu)" userId="37152ebf-cb41-4a71-820f-4428dc623117" providerId="ADAL" clId="{A8CB0EF4-8CB7-4C98-8F73-28BEBE522AA2}" dt="2021-11-29T19:30:57.143" v="258"/>
        <pc:sldMkLst>
          <pc:docMk/>
          <pc:sldMk cId="2454539942" sldId="2134805412"/>
        </pc:sldMkLst>
      </pc:sldChg>
      <pc:sldChg chg="modSp add mod">
        <pc:chgData name="Cai, Simon (NSB - CN/Chengdu)" userId="37152ebf-cb41-4a71-820f-4428dc623117" providerId="ADAL" clId="{A8CB0EF4-8CB7-4C98-8F73-28BEBE522AA2}" dt="2021-11-29T19:52:49.767" v="648" actId="20577"/>
        <pc:sldMkLst>
          <pc:docMk/>
          <pc:sldMk cId="1648074745" sldId="2134805413"/>
        </pc:sldMkLst>
        <pc:spChg chg="mod">
          <ac:chgData name="Cai, Simon (NSB - CN/Chengdu)" userId="37152ebf-cb41-4a71-820f-4428dc623117" providerId="ADAL" clId="{A8CB0EF4-8CB7-4C98-8F73-28BEBE522AA2}" dt="2021-11-29T19:52:49.767" v="648" actId="20577"/>
          <ac:spMkLst>
            <pc:docMk/>
            <pc:sldMk cId="1648074745" sldId="2134805413"/>
            <ac:spMk id="11" creationId="{8A9F430C-4E25-4C04-8EA9-859A6775256E}"/>
          </ac:spMkLst>
        </pc:spChg>
      </pc:sldChg>
      <pc:sldChg chg="modSp mod">
        <pc:chgData name="Cai, Simon (NSB - CN/Chengdu)" userId="37152ebf-cb41-4a71-820f-4428dc623117" providerId="ADAL" clId="{A8CB0EF4-8CB7-4C98-8F73-28BEBE522AA2}" dt="2021-11-30T07:17:46.256" v="710" actId="27636"/>
        <pc:sldMkLst>
          <pc:docMk/>
          <pc:sldMk cId="3431728892" sldId="2134805540"/>
        </pc:sldMkLst>
        <pc:spChg chg="mod">
          <ac:chgData name="Cai, Simon (NSB - CN/Chengdu)" userId="37152ebf-cb41-4a71-820f-4428dc623117" providerId="ADAL" clId="{A8CB0EF4-8CB7-4C98-8F73-28BEBE522AA2}" dt="2021-11-30T07:17:46.256" v="710" actId="27636"/>
          <ac:spMkLst>
            <pc:docMk/>
            <pc:sldMk cId="3431728892" sldId="2134805540"/>
            <ac:spMk id="4" creationId="{CD72C33D-DF40-4601-AF02-8DFD5A6EA958}"/>
          </ac:spMkLst>
        </pc:spChg>
      </pc:sldChg>
      <pc:sldChg chg="modSp mod">
        <pc:chgData name="Cai, Simon (NSB - CN/Chengdu)" userId="37152ebf-cb41-4a71-820f-4428dc623117" providerId="ADAL" clId="{A8CB0EF4-8CB7-4C98-8F73-28BEBE522AA2}" dt="2021-11-29T19:03:56.901" v="20" actId="1076"/>
        <pc:sldMkLst>
          <pc:docMk/>
          <pc:sldMk cId="2552578504" sldId="2134805563"/>
        </pc:sldMkLst>
        <pc:spChg chg="mod">
          <ac:chgData name="Cai, Simon (NSB - CN/Chengdu)" userId="37152ebf-cb41-4a71-820f-4428dc623117" providerId="ADAL" clId="{A8CB0EF4-8CB7-4C98-8F73-28BEBE522AA2}" dt="2021-11-29T19:03:56.901" v="20" actId="1076"/>
          <ac:spMkLst>
            <pc:docMk/>
            <pc:sldMk cId="2552578504" sldId="2134805563"/>
            <ac:spMk id="4" creationId="{CD72C33D-DF40-4601-AF02-8DFD5A6EA958}"/>
          </ac:spMkLst>
        </pc:spChg>
      </pc:sldChg>
      <pc:sldChg chg="modSp mod">
        <pc:chgData name="Cai, Simon (NSB - CN/Chengdu)" userId="37152ebf-cb41-4a71-820f-4428dc623117" providerId="ADAL" clId="{A8CB0EF4-8CB7-4C98-8F73-28BEBE522AA2}" dt="2021-11-30T07:17:46.234" v="709" actId="27636"/>
        <pc:sldMkLst>
          <pc:docMk/>
          <pc:sldMk cId="4008632245" sldId="2134805565"/>
        </pc:sldMkLst>
        <pc:spChg chg="mod">
          <ac:chgData name="Cai, Simon (NSB - CN/Chengdu)" userId="37152ebf-cb41-4a71-820f-4428dc623117" providerId="ADAL" clId="{A8CB0EF4-8CB7-4C98-8F73-28BEBE522AA2}" dt="2021-11-30T07:17:46.234" v="709" actId="27636"/>
          <ac:spMkLst>
            <pc:docMk/>
            <pc:sldMk cId="4008632245" sldId="2134805565"/>
            <ac:spMk id="4" creationId="{CD72C33D-DF40-4601-AF02-8DFD5A6EA958}"/>
          </ac:spMkLst>
        </pc:spChg>
      </pc:sldChg>
      <pc:sldChg chg="modSp new mod">
        <pc:chgData name="Cai, Simon (NSB - CN/Chengdu)" userId="37152ebf-cb41-4a71-820f-4428dc623117" providerId="ADAL" clId="{A8CB0EF4-8CB7-4C98-8F73-28BEBE522AA2}" dt="2021-11-29T19:05:23.387" v="43" actId="20577"/>
        <pc:sldMkLst>
          <pc:docMk/>
          <pc:sldMk cId="1742761218" sldId="2134805589"/>
        </pc:sldMkLst>
        <pc:spChg chg="mod">
          <ac:chgData name="Cai, Simon (NSB - CN/Chengdu)" userId="37152ebf-cb41-4a71-820f-4428dc623117" providerId="ADAL" clId="{A8CB0EF4-8CB7-4C98-8F73-28BEBE522AA2}" dt="2021-11-29T19:00:56.300" v="9"/>
          <ac:spMkLst>
            <pc:docMk/>
            <pc:sldMk cId="1742761218" sldId="2134805589"/>
            <ac:spMk id="2" creationId="{F70F07A9-7566-47FB-960B-B0CAB30102A8}"/>
          </ac:spMkLst>
        </pc:spChg>
        <pc:spChg chg="mod">
          <ac:chgData name="Cai, Simon (NSB - CN/Chengdu)" userId="37152ebf-cb41-4a71-820f-4428dc623117" providerId="ADAL" clId="{A8CB0EF4-8CB7-4C98-8F73-28BEBE522AA2}" dt="2021-11-29T18:59:32.940" v="5" actId="6549"/>
          <ac:spMkLst>
            <pc:docMk/>
            <pc:sldMk cId="1742761218" sldId="2134805589"/>
            <ac:spMk id="3" creationId="{01DA5E5C-E00E-43FE-95B5-C7F208BADC76}"/>
          </ac:spMkLst>
        </pc:spChg>
        <pc:spChg chg="mod">
          <ac:chgData name="Cai, Simon (NSB - CN/Chengdu)" userId="37152ebf-cb41-4a71-820f-4428dc623117" providerId="ADAL" clId="{A8CB0EF4-8CB7-4C98-8F73-28BEBE522AA2}" dt="2021-11-29T19:05:23.387" v="43" actId="20577"/>
          <ac:spMkLst>
            <pc:docMk/>
            <pc:sldMk cId="1742761218" sldId="2134805589"/>
            <ac:spMk id="4" creationId="{FD9B9349-5219-4A4E-8125-7E6F849D4C07}"/>
          </ac:spMkLst>
        </pc:spChg>
      </pc:sldChg>
      <pc:sldChg chg="modSp mod">
        <pc:chgData name="Cai, Simon (NSB - CN/Chengdu)" userId="37152ebf-cb41-4a71-820f-4428dc623117" providerId="ADAL" clId="{A8CB0EF4-8CB7-4C98-8F73-28BEBE522AA2}" dt="2021-11-30T07:18:03.690" v="715" actId="1076"/>
        <pc:sldMkLst>
          <pc:docMk/>
          <pc:sldMk cId="3007859491" sldId="2134805595"/>
        </pc:sldMkLst>
        <pc:graphicFrameChg chg="mod">
          <ac:chgData name="Cai, Simon (NSB - CN/Chengdu)" userId="37152ebf-cb41-4a71-820f-4428dc623117" providerId="ADAL" clId="{A8CB0EF4-8CB7-4C98-8F73-28BEBE522AA2}" dt="2021-11-30T07:18:03.690" v="715" actId="1076"/>
          <ac:graphicFrameMkLst>
            <pc:docMk/>
            <pc:sldMk cId="3007859491" sldId="2134805595"/>
            <ac:graphicFrameMk id="5" creationId="{147F1A6A-0E16-4C84-8E82-5039900CDD75}"/>
          </ac:graphicFrameMkLst>
        </pc:graphicFrameChg>
      </pc:sldChg>
      <pc:sldChg chg="addSp delSp modSp mod">
        <pc:chgData name="Cai, Simon (NSB - CN/Chengdu)" userId="37152ebf-cb41-4a71-820f-4428dc623117" providerId="ADAL" clId="{A8CB0EF4-8CB7-4C98-8F73-28BEBE522AA2}" dt="2021-11-30T07:19:17" v="722" actId="1076"/>
        <pc:sldMkLst>
          <pc:docMk/>
          <pc:sldMk cId="1742761218" sldId="2134805596"/>
        </pc:sldMkLst>
        <pc:spChg chg="mod">
          <ac:chgData name="Cai, Simon (NSB - CN/Chengdu)" userId="37152ebf-cb41-4a71-820f-4428dc623117" providerId="ADAL" clId="{A8CB0EF4-8CB7-4C98-8F73-28BEBE522AA2}" dt="2021-11-30T07:19:09.602" v="721" actId="20577"/>
          <ac:spMkLst>
            <pc:docMk/>
            <pc:sldMk cId="1742761218" sldId="2134805596"/>
            <ac:spMk id="4" creationId="{FD9B9349-5219-4A4E-8125-7E6F849D4C07}"/>
          </ac:spMkLst>
        </pc:spChg>
        <pc:graphicFrameChg chg="del mod">
          <ac:chgData name="Cai, Simon (NSB - CN/Chengdu)" userId="37152ebf-cb41-4a71-820f-4428dc623117" providerId="ADAL" clId="{A8CB0EF4-8CB7-4C98-8F73-28BEBE522AA2}" dt="2021-11-29T19:10:26.448" v="154"/>
          <ac:graphicFrameMkLst>
            <pc:docMk/>
            <pc:sldMk cId="1742761218" sldId="2134805596"/>
            <ac:graphicFrameMk id="5" creationId="{366FCD60-D946-43C3-A8A8-7464D59B4374}"/>
          </ac:graphicFrameMkLst>
        </pc:graphicFrameChg>
        <pc:graphicFrameChg chg="add mod modGraphic">
          <ac:chgData name="Cai, Simon (NSB - CN/Chengdu)" userId="37152ebf-cb41-4a71-820f-4428dc623117" providerId="ADAL" clId="{A8CB0EF4-8CB7-4C98-8F73-28BEBE522AA2}" dt="2021-11-30T07:19:17" v="722" actId="1076"/>
          <ac:graphicFrameMkLst>
            <pc:docMk/>
            <pc:sldMk cId="1742761218" sldId="2134805596"/>
            <ac:graphicFrameMk id="6" creationId="{7EB9F519-EBBF-4E3D-8151-EDF7DCFD45C1}"/>
          </ac:graphicFrameMkLst>
        </pc:graphicFrameChg>
        <pc:picChg chg="add del">
          <ac:chgData name="Cai, Simon (NSB - CN/Chengdu)" userId="37152ebf-cb41-4a71-820f-4428dc623117" providerId="ADAL" clId="{A8CB0EF4-8CB7-4C98-8F73-28BEBE522AA2}" dt="2021-11-30T07:17:46.172" v="708"/>
          <ac:picMkLst>
            <pc:docMk/>
            <pc:sldMk cId="1742761218" sldId="2134805596"/>
            <ac:picMk id="5" creationId="{E50F87B0-F308-4D68-84B5-A777655B4FB8}"/>
          </ac:picMkLst>
        </pc:picChg>
      </pc:sldChg>
      <pc:sldChg chg="addSp modSp add mod">
        <pc:chgData name="Cai, Simon (NSB - CN/Chengdu)" userId="37152ebf-cb41-4a71-820f-4428dc623117" providerId="ADAL" clId="{A8CB0EF4-8CB7-4C98-8F73-28BEBE522AA2}" dt="2021-11-30T07:19:57.134" v="746" actId="1076"/>
        <pc:sldMkLst>
          <pc:docMk/>
          <pc:sldMk cId="3754592971" sldId="2134805597"/>
        </pc:sldMkLst>
        <pc:spChg chg="mod">
          <ac:chgData name="Cai, Simon (NSB - CN/Chengdu)" userId="37152ebf-cb41-4a71-820f-4428dc623117" providerId="ADAL" clId="{A8CB0EF4-8CB7-4C98-8F73-28BEBE522AA2}" dt="2021-11-29T19:27:27.333" v="257" actId="404"/>
          <ac:spMkLst>
            <pc:docMk/>
            <pc:sldMk cId="3754592971" sldId="2134805597"/>
            <ac:spMk id="2" creationId="{F70F07A9-7566-47FB-960B-B0CAB30102A8}"/>
          </ac:spMkLst>
        </pc:spChg>
        <pc:spChg chg="mod">
          <ac:chgData name="Cai, Simon (NSB - CN/Chengdu)" userId="37152ebf-cb41-4a71-820f-4428dc623117" providerId="ADAL" clId="{A8CB0EF4-8CB7-4C98-8F73-28BEBE522AA2}" dt="2021-11-29T19:23:20.098" v="211" actId="404"/>
          <ac:spMkLst>
            <pc:docMk/>
            <pc:sldMk cId="3754592971" sldId="2134805597"/>
            <ac:spMk id="3" creationId="{01DA5E5C-E00E-43FE-95B5-C7F208BADC76}"/>
          </ac:spMkLst>
        </pc:spChg>
        <pc:spChg chg="mod">
          <ac:chgData name="Cai, Simon (NSB - CN/Chengdu)" userId="37152ebf-cb41-4a71-820f-4428dc623117" providerId="ADAL" clId="{A8CB0EF4-8CB7-4C98-8F73-28BEBE522AA2}" dt="2021-11-30T07:19:50.729" v="745" actId="20577"/>
          <ac:spMkLst>
            <pc:docMk/>
            <pc:sldMk cId="3754592971" sldId="2134805597"/>
            <ac:spMk id="4" creationId="{FD9B9349-5219-4A4E-8125-7E6F849D4C07}"/>
          </ac:spMkLst>
        </pc:spChg>
        <pc:graphicFrameChg chg="add mod">
          <ac:chgData name="Cai, Simon (NSB - CN/Chengdu)" userId="37152ebf-cb41-4a71-820f-4428dc623117" providerId="ADAL" clId="{A8CB0EF4-8CB7-4C98-8F73-28BEBE522AA2}" dt="2021-11-30T07:19:57.134" v="746" actId="1076"/>
          <ac:graphicFrameMkLst>
            <pc:docMk/>
            <pc:sldMk cId="3754592971" sldId="2134805597"/>
            <ac:graphicFrameMk id="5" creationId="{40B1DB93-89E0-4877-827D-ED59065ED560}"/>
          </ac:graphicFrameMkLst>
        </pc:graphicFrameChg>
      </pc:sldChg>
    </pc:docChg>
  </pc:docChgLst>
  <pc:docChgLst>
    <pc:chgData name="Dongjoo Kim (Nokia)" userId="0d370802-fa40-41da-9e63-3b740686fe4e" providerId="ADAL" clId="{FB932EB1-68AB-B34A-AACA-8FD73C9771C7}"/>
    <pc:docChg chg="undo custSel addSld delSld modSld">
      <pc:chgData name="Dongjoo Kim (Nokia)" userId="0d370802-fa40-41da-9e63-3b740686fe4e" providerId="ADAL" clId="{FB932EB1-68AB-B34A-AACA-8FD73C9771C7}" dt="2022-12-05T10:58:43.967" v="494" actId="6549"/>
      <pc:docMkLst>
        <pc:docMk/>
      </pc:docMkLst>
      <pc:sldChg chg="addSp delSp modSp add del mod">
        <pc:chgData name="Dongjoo Kim (Nokia)" userId="0d370802-fa40-41da-9e63-3b740686fe4e" providerId="ADAL" clId="{FB932EB1-68AB-B34A-AACA-8FD73C9771C7}" dt="2022-12-05T00:47:37.184" v="362" actId="2711"/>
        <pc:sldMkLst>
          <pc:docMk/>
          <pc:sldMk cId="2969031349" sldId="2134805584"/>
        </pc:sldMkLst>
        <pc:spChg chg="mod">
          <ac:chgData name="Dongjoo Kim (Nokia)" userId="0d370802-fa40-41da-9e63-3b740686fe4e" providerId="ADAL" clId="{FB932EB1-68AB-B34A-AACA-8FD73C9771C7}" dt="2022-12-01T09:01:05.813" v="44" actId="404"/>
          <ac:spMkLst>
            <pc:docMk/>
            <pc:sldMk cId="2969031349" sldId="2134805584"/>
            <ac:spMk id="2" creationId="{F55F6DD9-9F73-4475-B4C0-0BD35C69E49D}"/>
          </ac:spMkLst>
        </pc:spChg>
        <pc:spChg chg="mod">
          <ac:chgData name="Dongjoo Kim (Nokia)" userId="0d370802-fa40-41da-9e63-3b740686fe4e" providerId="ADAL" clId="{FB932EB1-68AB-B34A-AACA-8FD73C9771C7}" dt="2022-12-05T00:47:37.184" v="362" actId="2711"/>
          <ac:spMkLst>
            <pc:docMk/>
            <pc:sldMk cId="2969031349" sldId="2134805584"/>
            <ac:spMk id="4" creationId="{CD72C33D-DF40-4601-AF02-8DFD5A6EA958}"/>
          </ac:spMkLst>
        </pc:spChg>
        <pc:graphicFrameChg chg="mod">
          <ac:chgData name="Dongjoo Kim (Nokia)" userId="0d370802-fa40-41da-9e63-3b740686fe4e" providerId="ADAL" clId="{FB932EB1-68AB-B34A-AACA-8FD73C9771C7}" dt="2022-12-01T09:18:01.739" v="337" actId="1076"/>
          <ac:graphicFrameMkLst>
            <pc:docMk/>
            <pc:sldMk cId="2969031349" sldId="2134805584"/>
            <ac:graphicFrameMk id="5" creationId="{C8BBFCFC-A916-4DFF-91B3-3D3FB6D6A8D0}"/>
          </ac:graphicFrameMkLst>
        </pc:graphicFrameChg>
        <pc:graphicFrameChg chg="del">
          <ac:chgData name="Dongjoo Kim (Nokia)" userId="0d370802-fa40-41da-9e63-3b740686fe4e" providerId="ADAL" clId="{FB932EB1-68AB-B34A-AACA-8FD73C9771C7}" dt="2022-12-01T09:14:33.170" v="313" actId="478"/>
          <ac:graphicFrameMkLst>
            <pc:docMk/>
            <pc:sldMk cId="2969031349" sldId="2134805584"/>
            <ac:graphicFrameMk id="7" creationId="{84828CC4-19A6-4F80-8F8F-849FD7F32594}"/>
          </ac:graphicFrameMkLst>
        </pc:graphicFrameChg>
        <pc:graphicFrameChg chg="add del mod">
          <ac:chgData name="Dongjoo Kim (Nokia)" userId="0d370802-fa40-41da-9e63-3b740686fe4e" providerId="ADAL" clId="{FB932EB1-68AB-B34A-AACA-8FD73C9771C7}" dt="2022-12-01T09:04:00.264" v="76" actId="478"/>
          <ac:graphicFrameMkLst>
            <pc:docMk/>
            <pc:sldMk cId="2969031349" sldId="2134805584"/>
            <ac:graphicFrameMk id="8" creationId="{AA1437A7-6767-AEDE-D22E-B9B9152E5F39}"/>
          </ac:graphicFrameMkLst>
        </pc:graphicFrameChg>
      </pc:sldChg>
      <pc:sldChg chg="modSp mod">
        <pc:chgData name="Dongjoo Kim (Nokia)" userId="0d370802-fa40-41da-9e63-3b740686fe4e" providerId="ADAL" clId="{FB932EB1-68AB-B34A-AACA-8FD73C9771C7}" dt="2022-12-01T09:00:13.349" v="42" actId="20577"/>
        <pc:sldMkLst>
          <pc:docMk/>
          <pc:sldMk cId="493333457" sldId="2134805598"/>
        </pc:sldMkLst>
        <pc:spChg chg="mod">
          <ac:chgData name="Dongjoo Kim (Nokia)" userId="0d370802-fa40-41da-9e63-3b740686fe4e" providerId="ADAL" clId="{FB932EB1-68AB-B34A-AACA-8FD73C9771C7}" dt="2022-12-01T09:00:13.349" v="42" actId="20577"/>
          <ac:spMkLst>
            <pc:docMk/>
            <pc:sldMk cId="493333457" sldId="2134805598"/>
            <ac:spMk id="4" creationId="{B91515A7-343D-47E8-82B8-D58ED83CD3B1}"/>
          </ac:spMkLst>
        </pc:spChg>
      </pc:sldChg>
      <pc:sldChg chg="modSp mod">
        <pc:chgData name="Dongjoo Kim (Nokia)" userId="0d370802-fa40-41da-9e63-3b740686fe4e" providerId="ADAL" clId="{FB932EB1-68AB-B34A-AACA-8FD73C9771C7}" dt="2022-12-05T10:58:43.967" v="494" actId="6549"/>
        <pc:sldMkLst>
          <pc:docMk/>
          <pc:sldMk cId="931407385" sldId="2134805677"/>
        </pc:sldMkLst>
        <pc:spChg chg="mod">
          <ac:chgData name="Dongjoo Kim (Nokia)" userId="0d370802-fa40-41da-9e63-3b740686fe4e" providerId="ADAL" clId="{FB932EB1-68AB-B34A-AACA-8FD73C9771C7}" dt="2022-12-05T10:58:43.967" v="494" actId="6549"/>
          <ac:spMkLst>
            <pc:docMk/>
            <pc:sldMk cId="931407385" sldId="2134805677"/>
            <ac:spMk id="4" creationId="{CD72C33D-DF40-4601-AF02-8DFD5A6EA958}"/>
          </ac:spMkLst>
        </pc:spChg>
      </pc:sldChg>
      <pc:sldChg chg="modSp mod">
        <pc:chgData name="Dongjoo Kim (Nokia)" userId="0d370802-fa40-41da-9e63-3b740686fe4e" providerId="ADAL" clId="{FB932EB1-68AB-B34A-AACA-8FD73C9771C7}" dt="2022-12-05T10:46:45.065" v="366" actId="27636"/>
        <pc:sldMkLst>
          <pc:docMk/>
          <pc:sldMk cId="990824371" sldId="2134805685"/>
        </pc:sldMkLst>
        <pc:spChg chg="mod">
          <ac:chgData name="Dongjoo Kim (Nokia)" userId="0d370802-fa40-41da-9e63-3b740686fe4e" providerId="ADAL" clId="{FB932EB1-68AB-B34A-AACA-8FD73C9771C7}" dt="2022-12-05T10:46:45.065" v="366" actId="27636"/>
          <ac:spMkLst>
            <pc:docMk/>
            <pc:sldMk cId="990824371" sldId="2134805685"/>
            <ac:spMk id="4" creationId="{CD72C33D-DF40-4601-AF02-8DFD5A6EA958}"/>
          </ac:spMkLst>
        </pc:spChg>
      </pc:sldChg>
      <pc:sldChg chg="modSp mod">
        <pc:chgData name="Dongjoo Kim (Nokia)" userId="0d370802-fa40-41da-9e63-3b740686fe4e" providerId="ADAL" clId="{FB932EB1-68AB-B34A-AACA-8FD73C9771C7}" dt="2022-12-05T10:51:25.363" v="412" actId="27636"/>
        <pc:sldMkLst>
          <pc:docMk/>
          <pc:sldMk cId="614545562" sldId="2134805686"/>
        </pc:sldMkLst>
        <pc:spChg chg="mod">
          <ac:chgData name="Dongjoo Kim (Nokia)" userId="0d370802-fa40-41da-9e63-3b740686fe4e" providerId="ADAL" clId="{FB932EB1-68AB-B34A-AACA-8FD73C9771C7}" dt="2022-12-05T10:51:25.363" v="412" actId="27636"/>
          <ac:spMkLst>
            <pc:docMk/>
            <pc:sldMk cId="614545562" sldId="2134805686"/>
            <ac:spMk id="4" creationId="{CD72C33D-DF40-4601-AF02-8DFD5A6EA958}"/>
          </ac:spMkLst>
        </pc:spChg>
      </pc:sldChg>
      <pc:sldChg chg="modSp mod">
        <pc:chgData name="Dongjoo Kim (Nokia)" userId="0d370802-fa40-41da-9e63-3b740686fe4e" providerId="ADAL" clId="{FB932EB1-68AB-B34A-AACA-8FD73C9771C7}" dt="2022-11-30T10:16:21.366" v="0" actId="27636"/>
        <pc:sldMkLst>
          <pc:docMk/>
          <pc:sldMk cId="1762226801" sldId="2146846817"/>
        </pc:sldMkLst>
        <pc:spChg chg="mod">
          <ac:chgData name="Dongjoo Kim (Nokia)" userId="0d370802-fa40-41da-9e63-3b740686fe4e" providerId="ADAL" clId="{FB932EB1-68AB-B34A-AACA-8FD73C9771C7}" dt="2022-11-30T10:16:21.366" v="0" actId="27636"/>
          <ac:spMkLst>
            <pc:docMk/>
            <pc:sldMk cId="1762226801" sldId="2146846817"/>
            <ac:spMk id="4" creationId="{CD72C33D-DF40-4601-AF02-8DFD5A6EA958}"/>
          </ac:spMkLst>
        </pc:spChg>
      </pc:sldChg>
    </pc:docChg>
  </pc:docChgLst>
  <pc:docChgLst>
    <pc:chgData name="Saubhagya Baliarsingh (Nokia)" userId="4ec7ae5b-f499-48ef-80f9-42c73336c873" providerId="ADAL" clId="{70DCE2F5-99B3-416D-B67C-54864F4F5155}"/>
    <pc:docChg chg="undo custSel addSld modSld">
      <pc:chgData name="Saubhagya Baliarsingh (Nokia)" userId="4ec7ae5b-f499-48ef-80f9-42c73336c873" providerId="ADAL" clId="{70DCE2F5-99B3-416D-B67C-54864F4F5155}" dt="2023-03-06T04:42:21.644" v="720" actId="1076"/>
      <pc:docMkLst>
        <pc:docMk/>
      </pc:docMkLst>
      <pc:sldChg chg="modSp mod">
        <pc:chgData name="Saubhagya Baliarsingh (Nokia)" userId="4ec7ae5b-f499-48ef-80f9-42c73336c873" providerId="ADAL" clId="{70DCE2F5-99B3-416D-B67C-54864F4F5155}" dt="2023-03-03T09:34:56.969" v="0" actId="313"/>
        <pc:sldMkLst>
          <pc:docMk/>
          <pc:sldMk cId="2165169509" sldId="258"/>
        </pc:sldMkLst>
        <pc:spChg chg="mod">
          <ac:chgData name="Saubhagya Baliarsingh (Nokia)" userId="4ec7ae5b-f499-48ef-80f9-42c73336c873" providerId="ADAL" clId="{70DCE2F5-99B3-416D-B67C-54864F4F5155}" dt="2023-03-03T09:34:56.969" v="0" actId="313"/>
          <ac:spMkLst>
            <pc:docMk/>
            <pc:sldMk cId="2165169509" sldId="258"/>
            <ac:spMk id="3" creationId="{A4E748F3-52F3-4227-86AD-9C50826A6263}"/>
          </ac:spMkLst>
        </pc:spChg>
      </pc:sldChg>
      <pc:sldChg chg="modSp mod">
        <pc:chgData name="Saubhagya Baliarsingh (Nokia)" userId="4ec7ae5b-f499-48ef-80f9-42c73336c873" providerId="ADAL" clId="{70DCE2F5-99B3-416D-B67C-54864F4F5155}" dt="2023-03-03T10:19:29.075" v="541" actId="207"/>
        <pc:sldMkLst>
          <pc:docMk/>
          <pc:sldMk cId="494238848" sldId="2146846814"/>
        </pc:sldMkLst>
        <pc:spChg chg="mod">
          <ac:chgData name="Saubhagya Baliarsingh (Nokia)" userId="4ec7ae5b-f499-48ef-80f9-42c73336c873" providerId="ADAL" clId="{70DCE2F5-99B3-416D-B67C-54864F4F5155}" dt="2023-03-03T10:19:29.075" v="541" actId="207"/>
          <ac:spMkLst>
            <pc:docMk/>
            <pc:sldMk cId="494238848" sldId="2146846814"/>
            <ac:spMk id="2" creationId="{F55F6DD9-9F73-4475-B4C0-0BD35C69E49D}"/>
          </ac:spMkLst>
        </pc:spChg>
        <pc:spChg chg="mod">
          <ac:chgData name="Saubhagya Baliarsingh (Nokia)" userId="4ec7ae5b-f499-48ef-80f9-42c73336c873" providerId="ADAL" clId="{70DCE2F5-99B3-416D-B67C-54864F4F5155}" dt="2023-03-03T09:46:28.867" v="14" actId="20577"/>
          <ac:spMkLst>
            <pc:docMk/>
            <pc:sldMk cId="494238848" sldId="2146846814"/>
            <ac:spMk id="3" creationId="{506A8607-C5AE-48A7-9AC8-7B6F426DD14D}"/>
          </ac:spMkLst>
        </pc:spChg>
        <pc:spChg chg="mod">
          <ac:chgData name="Saubhagya Baliarsingh (Nokia)" userId="4ec7ae5b-f499-48ef-80f9-42c73336c873" providerId="ADAL" clId="{70DCE2F5-99B3-416D-B67C-54864F4F5155}" dt="2023-03-03T10:19:05.999" v="540" actId="404"/>
          <ac:spMkLst>
            <pc:docMk/>
            <pc:sldMk cId="494238848" sldId="2146846814"/>
            <ac:spMk id="4" creationId="{CD72C33D-DF40-4601-AF02-8DFD5A6EA958}"/>
          </ac:spMkLst>
        </pc:spChg>
        <pc:graphicFrameChg chg="mod modGraphic">
          <ac:chgData name="Saubhagya Baliarsingh (Nokia)" userId="4ec7ae5b-f499-48ef-80f9-42c73336c873" providerId="ADAL" clId="{70DCE2F5-99B3-416D-B67C-54864F4F5155}" dt="2023-03-03T10:15:56.674" v="538" actId="14734"/>
          <ac:graphicFrameMkLst>
            <pc:docMk/>
            <pc:sldMk cId="494238848" sldId="2146846814"/>
            <ac:graphicFrameMk id="5" creationId="{C8BBFCFC-A916-4DFF-91B3-3D3FB6D6A8D0}"/>
          </ac:graphicFrameMkLst>
        </pc:graphicFrameChg>
      </pc:sldChg>
      <pc:sldChg chg="modSp add mod">
        <pc:chgData name="Saubhagya Baliarsingh (Nokia)" userId="4ec7ae5b-f499-48ef-80f9-42c73336c873" providerId="ADAL" clId="{70DCE2F5-99B3-416D-B67C-54864F4F5155}" dt="2023-03-06T04:42:21.644" v="720" actId="1076"/>
        <pc:sldMkLst>
          <pc:docMk/>
          <pc:sldMk cId="2840831110" sldId="2146847017"/>
        </pc:sldMkLst>
        <pc:spChg chg="mod">
          <ac:chgData name="Saubhagya Baliarsingh (Nokia)" userId="4ec7ae5b-f499-48ef-80f9-42c73336c873" providerId="ADAL" clId="{70DCE2F5-99B3-416D-B67C-54864F4F5155}" dt="2023-03-06T04:42:21.644" v="720" actId="1076"/>
          <ac:spMkLst>
            <pc:docMk/>
            <pc:sldMk cId="2840831110" sldId="2146847017"/>
            <ac:spMk id="2" creationId="{F70F07A9-7566-47FB-960B-B0CAB30102A8}"/>
          </ac:spMkLst>
        </pc:spChg>
        <pc:spChg chg="mod">
          <ac:chgData name="Saubhagya Baliarsingh (Nokia)" userId="4ec7ae5b-f499-48ef-80f9-42c73336c873" providerId="ADAL" clId="{70DCE2F5-99B3-416D-B67C-54864F4F5155}" dt="2023-03-06T04:42:17.048" v="719" actId="404"/>
          <ac:spMkLst>
            <pc:docMk/>
            <pc:sldMk cId="2840831110" sldId="2146847017"/>
            <ac:spMk id="3" creationId="{01DA5E5C-E00E-43FE-95B5-C7F208BADC76}"/>
          </ac:spMkLst>
        </pc:spChg>
        <pc:spChg chg="mod">
          <ac:chgData name="Saubhagya Baliarsingh (Nokia)" userId="4ec7ae5b-f499-48ef-80f9-42c73336c873" providerId="ADAL" clId="{70DCE2F5-99B3-416D-B67C-54864F4F5155}" dt="2023-03-03T10:36:23.422" v="714" actId="27636"/>
          <ac:spMkLst>
            <pc:docMk/>
            <pc:sldMk cId="2840831110" sldId="2146847017"/>
            <ac:spMk id="4" creationId="{FD9B9349-5219-4A4E-8125-7E6F849D4C07}"/>
          </ac:spMkLst>
        </pc:spChg>
      </pc:sldChg>
    </pc:docChg>
  </pc:docChgLst>
  <pc:docChgLst>
    <pc:chgData name="Pallab Gupta (Nokia)" userId="2373e1e1-8f73-46a5-bf2c-89beccfccabe" providerId="ADAL" clId="{A49D7377-4F39-46AE-86D0-5719C0172134}"/>
    <pc:docChg chg="undo custSel addSld delSld modSld">
      <pc:chgData name="Pallab Gupta (Nokia)" userId="2373e1e1-8f73-46a5-bf2c-89beccfccabe" providerId="ADAL" clId="{A49D7377-4F39-46AE-86D0-5719C0172134}" dt="2022-12-02T04:16:18.406" v="34" actId="404"/>
      <pc:docMkLst>
        <pc:docMk/>
      </pc:docMkLst>
      <pc:sldChg chg="addSp delSp modSp mod">
        <pc:chgData name="Pallab Gupta (Nokia)" userId="2373e1e1-8f73-46a5-bf2c-89beccfccabe" providerId="ADAL" clId="{A49D7377-4F39-46AE-86D0-5719C0172134}" dt="2022-12-02T04:16:18.406" v="34" actId="404"/>
        <pc:sldMkLst>
          <pc:docMk/>
          <pc:sldMk cId="739015424" sldId="2134805526"/>
        </pc:sldMkLst>
        <pc:spChg chg="add del mod">
          <ac:chgData name="Pallab Gupta (Nokia)" userId="2373e1e1-8f73-46a5-bf2c-89beccfccabe" providerId="ADAL" clId="{A49D7377-4F39-46AE-86D0-5719C0172134}" dt="2022-12-02T04:16:18.406" v="34" actId="404"/>
          <ac:spMkLst>
            <pc:docMk/>
            <pc:sldMk cId="739015424" sldId="2134805526"/>
            <ac:spMk id="6" creationId="{2E20DBE3-132B-4E49-9B12-D7A9DE1B1D38}"/>
          </ac:spMkLst>
        </pc:spChg>
        <pc:spChg chg="add del mod">
          <ac:chgData name="Pallab Gupta (Nokia)" userId="2373e1e1-8f73-46a5-bf2c-89beccfccabe" providerId="ADAL" clId="{A49D7377-4F39-46AE-86D0-5719C0172134}" dt="2022-12-02T04:13:54.594" v="17"/>
          <ac:spMkLst>
            <pc:docMk/>
            <pc:sldMk cId="739015424" sldId="2134805526"/>
            <ac:spMk id="7" creationId="{4ADC23F0-E9B3-4F8D-BD8D-90C69EC34511}"/>
          </ac:spMkLst>
        </pc:spChg>
      </pc:sldChg>
      <pc:sldChg chg="add">
        <pc:chgData name="Pallab Gupta (Nokia)" userId="2373e1e1-8f73-46a5-bf2c-89beccfccabe" providerId="ADAL" clId="{A49D7377-4F39-46AE-86D0-5719C0172134}" dt="2022-12-02T04:11:27.505" v="3"/>
        <pc:sldMkLst>
          <pc:docMk/>
          <pc:sldMk cId="2823810649" sldId="2134805528"/>
        </pc:sldMkLst>
      </pc:sldChg>
      <pc:sldChg chg="modSp add mod">
        <pc:chgData name="Pallab Gupta (Nokia)" userId="2373e1e1-8f73-46a5-bf2c-89beccfccabe" providerId="ADAL" clId="{A49D7377-4F39-46AE-86D0-5719C0172134}" dt="2022-12-02T04:12:38.404" v="9" actId="20577"/>
        <pc:sldMkLst>
          <pc:docMk/>
          <pc:sldMk cId="3601372499" sldId="2134805539"/>
        </pc:sldMkLst>
        <pc:spChg chg="mod">
          <ac:chgData name="Pallab Gupta (Nokia)" userId="2373e1e1-8f73-46a5-bf2c-89beccfccabe" providerId="ADAL" clId="{A49D7377-4F39-46AE-86D0-5719C0172134}" dt="2022-12-02T04:12:38.404" v="9" actId="20577"/>
          <ac:spMkLst>
            <pc:docMk/>
            <pc:sldMk cId="3601372499" sldId="2134805539"/>
            <ac:spMk id="6" creationId="{2E20DBE3-132B-4E49-9B12-D7A9DE1B1D38}"/>
          </ac:spMkLst>
        </pc:spChg>
      </pc:sldChg>
      <pc:sldChg chg="add">
        <pc:chgData name="Pallab Gupta (Nokia)" userId="2373e1e1-8f73-46a5-bf2c-89beccfccabe" providerId="ADAL" clId="{A49D7377-4F39-46AE-86D0-5719C0172134}" dt="2022-12-02T04:11:56.454" v="7"/>
        <pc:sldMkLst>
          <pc:docMk/>
          <pc:sldMk cId="2965957211" sldId="2134805540"/>
        </pc:sldMkLst>
      </pc:sldChg>
      <pc:sldChg chg="add">
        <pc:chgData name="Pallab Gupta (Nokia)" userId="2373e1e1-8f73-46a5-bf2c-89beccfccabe" providerId="ADAL" clId="{A49D7377-4F39-46AE-86D0-5719C0172134}" dt="2022-12-02T04:11:56.454" v="7"/>
        <pc:sldMkLst>
          <pc:docMk/>
          <pc:sldMk cId="4016153925" sldId="2134805541"/>
        </pc:sldMkLst>
      </pc:sldChg>
      <pc:sldChg chg="add">
        <pc:chgData name="Pallab Gupta (Nokia)" userId="2373e1e1-8f73-46a5-bf2c-89beccfccabe" providerId="ADAL" clId="{A49D7377-4F39-46AE-86D0-5719C0172134}" dt="2022-12-02T04:11:56.454" v="7"/>
        <pc:sldMkLst>
          <pc:docMk/>
          <pc:sldMk cId="3370693477" sldId="2134805542"/>
        </pc:sldMkLst>
      </pc:sldChg>
      <pc:sldChg chg="add">
        <pc:chgData name="Pallab Gupta (Nokia)" userId="2373e1e1-8f73-46a5-bf2c-89beccfccabe" providerId="ADAL" clId="{A49D7377-4F39-46AE-86D0-5719C0172134}" dt="2022-12-02T04:11:56.454" v="7"/>
        <pc:sldMkLst>
          <pc:docMk/>
          <pc:sldMk cId="2753754778" sldId="2134805543"/>
        </pc:sldMkLst>
      </pc:sldChg>
      <pc:sldChg chg="add">
        <pc:chgData name="Pallab Gupta (Nokia)" userId="2373e1e1-8f73-46a5-bf2c-89beccfccabe" providerId="ADAL" clId="{A49D7377-4F39-46AE-86D0-5719C0172134}" dt="2022-12-02T04:11:56.454" v="7"/>
        <pc:sldMkLst>
          <pc:docMk/>
          <pc:sldMk cId="1926269436" sldId="2134805544"/>
        </pc:sldMkLst>
      </pc:sldChg>
      <pc:sldChg chg="add">
        <pc:chgData name="Pallab Gupta (Nokia)" userId="2373e1e1-8f73-46a5-bf2c-89beccfccabe" providerId="ADAL" clId="{A49D7377-4F39-46AE-86D0-5719C0172134}" dt="2022-12-02T04:11:56.454" v="7"/>
        <pc:sldMkLst>
          <pc:docMk/>
          <pc:sldMk cId="961900337" sldId="2134805545"/>
        </pc:sldMkLst>
      </pc:sldChg>
      <pc:sldChg chg="add">
        <pc:chgData name="Pallab Gupta (Nokia)" userId="2373e1e1-8f73-46a5-bf2c-89beccfccabe" providerId="ADAL" clId="{A49D7377-4F39-46AE-86D0-5719C0172134}" dt="2022-12-02T04:11:11.067" v="0"/>
        <pc:sldMkLst>
          <pc:docMk/>
          <pc:sldMk cId="2798450366" sldId="2134805567"/>
        </pc:sldMkLst>
      </pc:sldChg>
      <pc:sldChg chg="del">
        <pc:chgData name="Pallab Gupta (Nokia)" userId="2373e1e1-8f73-46a5-bf2c-89beccfccabe" providerId="ADAL" clId="{A49D7377-4F39-46AE-86D0-5719C0172134}" dt="2022-12-02T04:11:45.158" v="6" actId="47"/>
        <pc:sldMkLst>
          <pc:docMk/>
          <pc:sldMk cId="1432919690" sldId="2134805576"/>
        </pc:sldMkLst>
      </pc:sldChg>
      <pc:sldChg chg="del">
        <pc:chgData name="Pallab Gupta (Nokia)" userId="2373e1e1-8f73-46a5-bf2c-89beccfccabe" providerId="ADAL" clId="{A49D7377-4F39-46AE-86D0-5719C0172134}" dt="2022-12-02T04:11:12.722" v="2" actId="47"/>
        <pc:sldMkLst>
          <pc:docMk/>
          <pc:sldMk cId="2662172997" sldId="2134805578"/>
        </pc:sldMkLst>
      </pc:sldChg>
      <pc:sldChg chg="add">
        <pc:chgData name="Pallab Gupta (Nokia)" userId="2373e1e1-8f73-46a5-bf2c-89beccfccabe" providerId="ADAL" clId="{A49D7377-4F39-46AE-86D0-5719C0172134}" dt="2022-12-02T04:11:40.436" v="5"/>
        <pc:sldMkLst>
          <pc:docMk/>
          <pc:sldMk cId="494477773" sldId="2134805580"/>
        </pc:sldMkLst>
      </pc:sldChg>
      <pc:sldChg chg="add">
        <pc:chgData name="Pallab Gupta (Nokia)" userId="2373e1e1-8f73-46a5-bf2c-89beccfccabe" providerId="ADAL" clId="{A49D7377-4F39-46AE-86D0-5719C0172134}" dt="2022-12-02T04:11:40.436" v="5"/>
        <pc:sldMkLst>
          <pc:docMk/>
          <pc:sldMk cId="1533017053" sldId="2134805581"/>
        </pc:sldMkLst>
      </pc:sldChg>
      <pc:sldChg chg="add">
        <pc:chgData name="Pallab Gupta (Nokia)" userId="2373e1e1-8f73-46a5-bf2c-89beccfccabe" providerId="ADAL" clId="{A49D7377-4F39-46AE-86D0-5719C0172134}" dt="2022-12-02T04:11:40.436" v="5"/>
        <pc:sldMkLst>
          <pc:docMk/>
          <pc:sldMk cId="1604579669" sldId="2134805582"/>
        </pc:sldMkLst>
      </pc:sldChg>
      <pc:sldChg chg="modSp mod">
        <pc:chgData name="Pallab Gupta (Nokia)" userId="2373e1e1-8f73-46a5-bf2c-89beccfccabe" providerId="ADAL" clId="{A49D7377-4F39-46AE-86D0-5719C0172134}" dt="2022-12-02T04:11:11.252" v="1" actId="27636"/>
        <pc:sldMkLst>
          <pc:docMk/>
          <pc:sldMk cId="1762226801" sldId="2146846817"/>
        </pc:sldMkLst>
        <pc:spChg chg="mod">
          <ac:chgData name="Pallab Gupta (Nokia)" userId="2373e1e1-8f73-46a5-bf2c-89beccfccabe" providerId="ADAL" clId="{A49D7377-4F39-46AE-86D0-5719C0172134}" dt="2022-12-02T04:11:11.252" v="1" actId="27636"/>
          <ac:spMkLst>
            <pc:docMk/>
            <pc:sldMk cId="1762226801" sldId="2146846817"/>
            <ac:spMk id="4" creationId="{CD72C33D-DF40-4601-AF02-8DFD5A6EA958}"/>
          </ac:spMkLst>
        </pc:spChg>
      </pc:sldChg>
      <pc:sldChg chg="del">
        <pc:chgData name="Pallab Gupta (Nokia)" userId="2373e1e1-8f73-46a5-bf2c-89beccfccabe" providerId="ADAL" clId="{A49D7377-4F39-46AE-86D0-5719C0172134}" dt="2022-12-02T04:12:04.120" v="8" actId="47"/>
        <pc:sldMkLst>
          <pc:docMk/>
          <pc:sldMk cId="2890166730" sldId="2146846853"/>
        </pc:sldMkLst>
      </pc:sldChg>
      <pc:sldChg chg="del">
        <pc:chgData name="Pallab Gupta (Nokia)" userId="2373e1e1-8f73-46a5-bf2c-89beccfccabe" providerId="ADAL" clId="{A49D7377-4F39-46AE-86D0-5719C0172134}" dt="2022-12-02T04:11:30.442" v="4" actId="47"/>
        <pc:sldMkLst>
          <pc:docMk/>
          <pc:sldMk cId="4245832010" sldId="2146846863"/>
        </pc:sldMkLst>
      </pc:sldChg>
      <pc:sldChg chg="del">
        <pc:chgData name="Pallab Gupta (Nokia)" userId="2373e1e1-8f73-46a5-bf2c-89beccfccabe" providerId="ADAL" clId="{A49D7377-4F39-46AE-86D0-5719C0172134}" dt="2022-12-02T04:11:45.158" v="6" actId="47"/>
        <pc:sldMkLst>
          <pc:docMk/>
          <pc:sldMk cId="3958497071" sldId="2146846868"/>
        </pc:sldMkLst>
      </pc:sldChg>
      <pc:sldChg chg="del">
        <pc:chgData name="Pallab Gupta (Nokia)" userId="2373e1e1-8f73-46a5-bf2c-89beccfccabe" providerId="ADAL" clId="{A49D7377-4F39-46AE-86D0-5719C0172134}" dt="2022-12-02T04:11:45.158" v="6" actId="47"/>
        <pc:sldMkLst>
          <pc:docMk/>
          <pc:sldMk cId="2622373010" sldId="2146846869"/>
        </pc:sldMkLst>
      </pc:sldChg>
      <pc:sldChg chg="del">
        <pc:chgData name="Pallab Gupta (Nokia)" userId="2373e1e1-8f73-46a5-bf2c-89beccfccabe" providerId="ADAL" clId="{A49D7377-4F39-46AE-86D0-5719C0172134}" dt="2022-12-02T04:11:45.158" v="6" actId="47"/>
        <pc:sldMkLst>
          <pc:docMk/>
          <pc:sldMk cId="145295764" sldId="2146846870"/>
        </pc:sldMkLst>
      </pc:sldChg>
      <pc:sldChg chg="del">
        <pc:chgData name="Pallab Gupta (Nokia)" userId="2373e1e1-8f73-46a5-bf2c-89beccfccabe" providerId="ADAL" clId="{A49D7377-4F39-46AE-86D0-5719C0172134}" dt="2022-12-02T04:11:30.442" v="4" actId="47"/>
        <pc:sldMkLst>
          <pc:docMk/>
          <pc:sldMk cId="569534205" sldId="2146846937"/>
        </pc:sldMkLst>
      </pc:sldChg>
      <pc:sldChg chg="del">
        <pc:chgData name="Pallab Gupta (Nokia)" userId="2373e1e1-8f73-46a5-bf2c-89beccfccabe" providerId="ADAL" clId="{A49D7377-4F39-46AE-86D0-5719C0172134}" dt="2022-12-02T04:11:45.158" v="6" actId="47"/>
        <pc:sldMkLst>
          <pc:docMk/>
          <pc:sldMk cId="3296134321" sldId="2146846938"/>
        </pc:sldMkLst>
      </pc:sldChg>
      <pc:sldChg chg="del">
        <pc:chgData name="Pallab Gupta (Nokia)" userId="2373e1e1-8f73-46a5-bf2c-89beccfccabe" providerId="ADAL" clId="{A49D7377-4F39-46AE-86D0-5719C0172134}" dt="2022-12-02T04:12:04.120" v="8" actId="47"/>
        <pc:sldMkLst>
          <pc:docMk/>
          <pc:sldMk cId="2278791807" sldId="2146846939"/>
        </pc:sldMkLst>
      </pc:sldChg>
      <pc:sldChg chg="del">
        <pc:chgData name="Pallab Gupta (Nokia)" userId="2373e1e1-8f73-46a5-bf2c-89beccfccabe" providerId="ADAL" clId="{A49D7377-4F39-46AE-86D0-5719C0172134}" dt="2022-12-02T04:12:04.120" v="8" actId="47"/>
        <pc:sldMkLst>
          <pc:docMk/>
          <pc:sldMk cId="2436223375" sldId="2146846940"/>
        </pc:sldMkLst>
      </pc:sldChg>
      <pc:sldChg chg="del">
        <pc:chgData name="Pallab Gupta (Nokia)" userId="2373e1e1-8f73-46a5-bf2c-89beccfccabe" providerId="ADAL" clId="{A49D7377-4F39-46AE-86D0-5719C0172134}" dt="2022-12-02T04:12:04.120" v="8" actId="47"/>
        <pc:sldMkLst>
          <pc:docMk/>
          <pc:sldMk cId="2748087860" sldId="2146846941"/>
        </pc:sldMkLst>
      </pc:sldChg>
      <pc:sldChg chg="del">
        <pc:chgData name="Pallab Gupta (Nokia)" userId="2373e1e1-8f73-46a5-bf2c-89beccfccabe" providerId="ADAL" clId="{A49D7377-4F39-46AE-86D0-5719C0172134}" dt="2022-12-02T04:12:04.120" v="8" actId="47"/>
        <pc:sldMkLst>
          <pc:docMk/>
          <pc:sldMk cId="2478555574" sldId="2146846942"/>
        </pc:sldMkLst>
      </pc:sldChg>
      <pc:sldChg chg="del">
        <pc:chgData name="Pallab Gupta (Nokia)" userId="2373e1e1-8f73-46a5-bf2c-89beccfccabe" providerId="ADAL" clId="{A49D7377-4F39-46AE-86D0-5719C0172134}" dt="2022-12-02T04:12:04.120" v="8" actId="47"/>
        <pc:sldMkLst>
          <pc:docMk/>
          <pc:sldMk cId="3887969581" sldId="2146846943"/>
        </pc:sldMkLst>
      </pc:sldChg>
      <pc:sldChg chg="add">
        <pc:chgData name="Pallab Gupta (Nokia)" userId="2373e1e1-8f73-46a5-bf2c-89beccfccabe" providerId="ADAL" clId="{A49D7377-4F39-46AE-86D0-5719C0172134}" dt="2022-12-02T04:11:56.454" v="7"/>
        <pc:sldMkLst>
          <pc:docMk/>
          <pc:sldMk cId="1691450444" sldId="2146846959"/>
        </pc:sldMkLst>
      </pc:sldChg>
      <pc:sldChg chg="add">
        <pc:chgData name="Pallab Gupta (Nokia)" userId="2373e1e1-8f73-46a5-bf2c-89beccfccabe" providerId="ADAL" clId="{A49D7377-4F39-46AE-86D0-5719C0172134}" dt="2022-12-02T04:11:40.436" v="5"/>
        <pc:sldMkLst>
          <pc:docMk/>
          <pc:sldMk cId="1895940572" sldId="2146846960"/>
        </pc:sldMkLst>
      </pc:sldChg>
      <pc:sldChg chg="add">
        <pc:chgData name="Pallab Gupta (Nokia)" userId="2373e1e1-8f73-46a5-bf2c-89beccfccabe" providerId="ADAL" clId="{A49D7377-4F39-46AE-86D0-5719C0172134}" dt="2022-12-02T04:11:40.436" v="5"/>
        <pc:sldMkLst>
          <pc:docMk/>
          <pc:sldMk cId="3151455156" sldId="2146846961"/>
        </pc:sldMkLst>
      </pc:sldChg>
      <pc:sldChg chg="add">
        <pc:chgData name="Pallab Gupta (Nokia)" userId="2373e1e1-8f73-46a5-bf2c-89beccfccabe" providerId="ADAL" clId="{A49D7377-4F39-46AE-86D0-5719C0172134}" dt="2022-12-02T04:11:27.505" v="3"/>
        <pc:sldMkLst>
          <pc:docMk/>
          <pc:sldMk cId="1819300235" sldId="2146846962"/>
        </pc:sldMkLst>
      </pc:sldChg>
      <pc:sldChg chg="add">
        <pc:chgData name="Pallab Gupta (Nokia)" userId="2373e1e1-8f73-46a5-bf2c-89beccfccabe" providerId="ADAL" clId="{A49D7377-4F39-46AE-86D0-5719C0172134}" dt="2022-12-02T04:11:27.505" v="3"/>
        <pc:sldMkLst>
          <pc:docMk/>
          <pc:sldMk cId="244132472" sldId="2146846963"/>
        </pc:sldMkLst>
      </pc:sldChg>
      <pc:sldChg chg="add">
        <pc:chgData name="Pallab Gupta (Nokia)" userId="2373e1e1-8f73-46a5-bf2c-89beccfccabe" providerId="ADAL" clId="{A49D7377-4F39-46AE-86D0-5719C0172134}" dt="2022-12-02T04:11:27.505" v="3"/>
        <pc:sldMkLst>
          <pc:docMk/>
          <pc:sldMk cId="300804447" sldId="2146846964"/>
        </pc:sldMkLst>
      </pc:sldChg>
      <pc:sldChg chg="add">
        <pc:chgData name="Pallab Gupta (Nokia)" userId="2373e1e1-8f73-46a5-bf2c-89beccfccabe" providerId="ADAL" clId="{A49D7377-4F39-46AE-86D0-5719C0172134}" dt="2022-12-02T04:11:11.067" v="0"/>
        <pc:sldMkLst>
          <pc:docMk/>
          <pc:sldMk cId="1579602630" sldId="2146846965"/>
        </pc:sldMkLst>
      </pc:sldChg>
    </pc:docChg>
  </pc:docChgLst>
  <pc:docChgLst>
    <pc:chgData name="Hietalahti, Hannu (Nokia - FI/Oulu)" userId="bcd6d86d-9ffc-4aa1-b5a6-083a51dd89a7" providerId="ADAL" clId="{4C9F224D-E041-4764-987E-1D64DA7003F8}"/>
    <pc:docChg chg="undo custSel addSld modSld">
      <pc:chgData name="Hietalahti, Hannu (Nokia - FI/Oulu)" userId="bcd6d86d-9ffc-4aa1-b5a6-083a51dd89a7" providerId="ADAL" clId="{4C9F224D-E041-4764-987E-1D64DA7003F8}" dt="2020-03-09T11:53:38.758" v="4721" actId="20577"/>
      <pc:docMkLst>
        <pc:docMk/>
      </pc:docMkLst>
      <pc:sldChg chg="modSp">
        <pc:chgData name="Hietalahti, Hannu (Nokia - FI/Oulu)" userId="bcd6d86d-9ffc-4aa1-b5a6-083a51dd89a7" providerId="ADAL" clId="{4C9F224D-E041-4764-987E-1D64DA7003F8}" dt="2020-03-09T11:13:12.309" v="3339" actId="20577"/>
        <pc:sldMkLst>
          <pc:docMk/>
          <pc:sldMk cId="376794098" sldId="272"/>
        </pc:sldMkLst>
        <pc:spChg chg="mod">
          <ac:chgData name="Hietalahti, Hannu (Nokia - FI/Oulu)" userId="bcd6d86d-9ffc-4aa1-b5a6-083a51dd89a7" providerId="ADAL" clId="{4C9F224D-E041-4764-987E-1D64DA7003F8}" dt="2020-03-09T11:13:12.309" v="3339" actId="20577"/>
          <ac:spMkLst>
            <pc:docMk/>
            <pc:sldMk cId="376794098" sldId="272"/>
            <ac:spMk id="4" creationId="{BD612997-8F8D-4939-8023-9B09970813F4}"/>
          </ac:spMkLst>
        </pc:spChg>
        <pc:spChg chg="mod">
          <ac:chgData name="Hietalahti, Hannu (Nokia - FI/Oulu)" userId="bcd6d86d-9ffc-4aa1-b5a6-083a51dd89a7" providerId="ADAL" clId="{4C9F224D-E041-4764-987E-1D64DA7003F8}" dt="2020-03-09T07:42:03.339" v="15" actId="20577"/>
          <ac:spMkLst>
            <pc:docMk/>
            <pc:sldMk cId="376794098" sldId="272"/>
            <ac:spMk id="5" creationId="{0A813F0E-7224-42E6-A359-B5A9B05FEE7A}"/>
          </ac:spMkLst>
        </pc:spChg>
      </pc:sldChg>
      <pc:sldChg chg="modSp">
        <pc:chgData name="Hietalahti, Hannu (Nokia - FI/Oulu)" userId="bcd6d86d-9ffc-4aa1-b5a6-083a51dd89a7" providerId="ADAL" clId="{4C9F224D-E041-4764-987E-1D64DA7003F8}" dt="2020-03-09T07:44:54.537" v="476" actId="20577"/>
        <pc:sldMkLst>
          <pc:docMk/>
          <pc:sldMk cId="2914097150" sldId="273"/>
        </pc:sldMkLst>
        <pc:spChg chg="mod">
          <ac:chgData name="Hietalahti, Hannu (Nokia - FI/Oulu)" userId="bcd6d86d-9ffc-4aa1-b5a6-083a51dd89a7" providerId="ADAL" clId="{4C9F224D-E041-4764-987E-1D64DA7003F8}" dt="2020-03-09T07:44:54.537" v="476" actId="20577"/>
          <ac:spMkLst>
            <pc:docMk/>
            <pc:sldMk cId="2914097150" sldId="273"/>
            <ac:spMk id="5" creationId="{0FFE4F32-4C3B-461A-A8E4-7E9C955D0B31}"/>
          </ac:spMkLst>
        </pc:spChg>
      </pc:sldChg>
      <pc:sldChg chg="modSp">
        <pc:chgData name="Hietalahti, Hannu (Nokia - FI/Oulu)" userId="bcd6d86d-9ffc-4aa1-b5a6-083a51dd89a7" providerId="ADAL" clId="{4C9F224D-E041-4764-987E-1D64DA7003F8}" dt="2020-03-09T10:10:03.990" v="1982" actId="20577"/>
        <pc:sldMkLst>
          <pc:docMk/>
          <pc:sldMk cId="8711352" sldId="298"/>
        </pc:sldMkLst>
        <pc:spChg chg="mod">
          <ac:chgData name="Hietalahti, Hannu (Nokia - FI/Oulu)" userId="bcd6d86d-9ffc-4aa1-b5a6-083a51dd89a7" providerId="ADAL" clId="{4C9F224D-E041-4764-987E-1D64DA7003F8}" dt="2020-03-09T10:10:03.990" v="1982" actId="20577"/>
          <ac:spMkLst>
            <pc:docMk/>
            <pc:sldMk cId="8711352" sldId="298"/>
            <ac:spMk id="4" creationId="{BDC7D266-0891-4430-9759-534065AEEEF3}"/>
          </ac:spMkLst>
        </pc:spChg>
      </pc:sldChg>
      <pc:sldChg chg="modSp">
        <pc:chgData name="Hietalahti, Hannu (Nokia - FI/Oulu)" userId="bcd6d86d-9ffc-4aa1-b5a6-083a51dd89a7" providerId="ADAL" clId="{4C9F224D-E041-4764-987E-1D64DA7003F8}" dt="2020-03-09T11:16:31.283" v="3355" actId="20577"/>
        <pc:sldMkLst>
          <pc:docMk/>
          <pc:sldMk cId="298917606" sldId="301"/>
        </pc:sldMkLst>
        <pc:spChg chg="mod">
          <ac:chgData name="Hietalahti, Hannu (Nokia - FI/Oulu)" userId="bcd6d86d-9ffc-4aa1-b5a6-083a51dd89a7" providerId="ADAL" clId="{4C9F224D-E041-4764-987E-1D64DA7003F8}" dt="2020-03-09T11:16:31.283" v="3355" actId="20577"/>
          <ac:spMkLst>
            <pc:docMk/>
            <pc:sldMk cId="298917606" sldId="301"/>
            <ac:spMk id="5" creationId="{A560F786-3A6C-41F0-99EF-DFF4DE7F777C}"/>
          </ac:spMkLst>
        </pc:spChg>
      </pc:sldChg>
      <pc:sldChg chg="modSp add">
        <pc:chgData name="Hietalahti, Hannu (Nokia - FI/Oulu)" userId="bcd6d86d-9ffc-4aa1-b5a6-083a51dd89a7" providerId="ADAL" clId="{4C9F224D-E041-4764-987E-1D64DA7003F8}" dt="2020-03-09T11:31:00.104" v="3381" actId="20577"/>
        <pc:sldMkLst>
          <pc:docMk/>
          <pc:sldMk cId="1468411927" sldId="331"/>
        </pc:sldMkLst>
        <pc:spChg chg="mod">
          <ac:chgData name="Hietalahti, Hannu (Nokia - FI/Oulu)" userId="bcd6d86d-9ffc-4aa1-b5a6-083a51dd89a7" providerId="ADAL" clId="{4C9F224D-E041-4764-987E-1D64DA7003F8}" dt="2020-03-09T11:31:00.104" v="3381" actId="20577"/>
          <ac:spMkLst>
            <pc:docMk/>
            <pc:sldMk cId="1468411927" sldId="331"/>
            <ac:spMk id="5" creationId="{A560F786-3A6C-41F0-99EF-DFF4DE7F777C}"/>
          </ac:spMkLst>
        </pc:spChg>
      </pc:sldChg>
    </pc:docChg>
  </pc:docChgLst>
  <pc:docChgLst>
    <pc:chgData name="Belling, Thomas (Nokia - DE/Munich)" userId="S::thomas.belling@nokia.com::38e53bf5-7a59-41ec-8bf1-bf611b810166" providerId="AD" clId="Web-{78A7B23C-CB30-C74B-F20F-B465B3BAE274}"/>
    <pc:docChg chg="addSld">
      <pc:chgData name="Belling, Thomas (Nokia - DE/Munich)" userId="S::thomas.belling@nokia.com::38e53bf5-7a59-41ec-8bf1-bf611b810166" providerId="AD" clId="Web-{78A7B23C-CB30-C74B-F20F-B465B3BAE274}" dt="2022-03-03T20:03:08.506" v="0"/>
      <pc:docMkLst>
        <pc:docMk/>
      </pc:docMkLst>
      <pc:sldChg chg="new">
        <pc:chgData name="Belling, Thomas (Nokia - DE/Munich)" userId="S::thomas.belling@nokia.com::38e53bf5-7a59-41ec-8bf1-bf611b810166" providerId="AD" clId="Web-{78A7B23C-CB30-C74B-F20F-B465B3BAE274}" dt="2022-03-03T20:03:08.506" v="0"/>
        <pc:sldMkLst>
          <pc:docMk/>
          <pc:sldMk cId="765254280" sldId="2146846794"/>
        </pc:sldMkLst>
      </pc:sldChg>
    </pc:docChg>
  </pc:docChgLst>
  <pc:docChgLst>
    <pc:chgData name="Belling, Thomas (Nokia - DE/Munich)" userId="38e53bf5-7a59-41ec-8bf1-bf611b810166" providerId="ADAL" clId="{47B682A7-1A08-4252-918C-C0C3AAF54FC1}"/>
    <pc:docChg chg="undo custSel addSld modSld">
      <pc:chgData name="Belling, Thomas (Nokia - DE/Munich)" userId="38e53bf5-7a59-41ec-8bf1-bf611b810166" providerId="ADAL" clId="{47B682A7-1A08-4252-918C-C0C3AAF54FC1}" dt="2022-03-03T20:17:12.717" v="73" actId="14100"/>
      <pc:docMkLst>
        <pc:docMk/>
      </pc:docMkLst>
      <pc:sldChg chg="modSp mod">
        <pc:chgData name="Belling, Thomas (Nokia - DE/Munich)" userId="38e53bf5-7a59-41ec-8bf1-bf611b810166" providerId="ADAL" clId="{47B682A7-1A08-4252-918C-C0C3AAF54FC1}" dt="2022-03-03T20:12:13.814" v="52" actId="20577"/>
        <pc:sldMkLst>
          <pc:docMk/>
          <pc:sldMk cId="765254280" sldId="2146846794"/>
        </pc:sldMkLst>
        <pc:spChg chg="mod">
          <ac:chgData name="Belling, Thomas (Nokia - DE/Munich)" userId="38e53bf5-7a59-41ec-8bf1-bf611b810166" providerId="ADAL" clId="{47B682A7-1A08-4252-918C-C0C3AAF54FC1}" dt="2022-03-03T20:06:59.655" v="1"/>
          <ac:spMkLst>
            <pc:docMk/>
            <pc:sldMk cId="765254280" sldId="2146846794"/>
            <ac:spMk id="2" creationId="{828AE646-029C-43F1-BE54-1B04A2DEF02D}"/>
          </ac:spMkLst>
        </pc:spChg>
        <pc:spChg chg="mod">
          <ac:chgData name="Belling, Thomas (Nokia - DE/Munich)" userId="38e53bf5-7a59-41ec-8bf1-bf611b810166" providerId="ADAL" clId="{47B682A7-1A08-4252-918C-C0C3AAF54FC1}" dt="2022-03-03T20:09:51.101" v="30" actId="20577"/>
          <ac:spMkLst>
            <pc:docMk/>
            <pc:sldMk cId="765254280" sldId="2146846794"/>
            <ac:spMk id="3" creationId="{B048C618-39BC-4B3E-A0B8-FE581AEF965F}"/>
          </ac:spMkLst>
        </pc:spChg>
        <pc:spChg chg="mod">
          <ac:chgData name="Belling, Thomas (Nokia - DE/Munich)" userId="38e53bf5-7a59-41ec-8bf1-bf611b810166" providerId="ADAL" clId="{47B682A7-1A08-4252-918C-C0C3AAF54FC1}" dt="2022-03-03T20:12:13.814" v="52" actId="20577"/>
          <ac:spMkLst>
            <pc:docMk/>
            <pc:sldMk cId="765254280" sldId="2146846794"/>
            <ac:spMk id="4" creationId="{28321214-5593-409F-8579-2A508BFFF6F3}"/>
          </ac:spMkLst>
        </pc:spChg>
      </pc:sldChg>
      <pc:sldChg chg="modSp add mod">
        <pc:chgData name="Belling, Thomas (Nokia - DE/Munich)" userId="38e53bf5-7a59-41ec-8bf1-bf611b810166" providerId="ADAL" clId="{47B682A7-1A08-4252-918C-C0C3AAF54FC1}" dt="2022-03-03T20:11:34.404" v="49" actId="108"/>
        <pc:sldMkLst>
          <pc:docMk/>
          <pc:sldMk cId="3168969618" sldId="2146846795"/>
        </pc:sldMkLst>
        <pc:spChg chg="mod">
          <ac:chgData name="Belling, Thomas (Nokia - DE/Munich)" userId="38e53bf5-7a59-41ec-8bf1-bf611b810166" providerId="ADAL" clId="{47B682A7-1A08-4252-918C-C0C3AAF54FC1}" dt="2022-03-03T20:10:30.391" v="36" actId="20577"/>
          <ac:spMkLst>
            <pc:docMk/>
            <pc:sldMk cId="3168969618" sldId="2146846795"/>
            <ac:spMk id="3" creationId="{B048C618-39BC-4B3E-A0B8-FE581AEF965F}"/>
          </ac:spMkLst>
        </pc:spChg>
        <pc:spChg chg="mod">
          <ac:chgData name="Belling, Thomas (Nokia - DE/Munich)" userId="38e53bf5-7a59-41ec-8bf1-bf611b810166" providerId="ADAL" clId="{47B682A7-1A08-4252-918C-C0C3AAF54FC1}" dt="2022-03-03T20:11:34.404" v="49" actId="108"/>
          <ac:spMkLst>
            <pc:docMk/>
            <pc:sldMk cId="3168969618" sldId="2146846795"/>
            <ac:spMk id="4" creationId="{28321214-5593-409F-8579-2A508BFFF6F3}"/>
          </ac:spMkLst>
        </pc:spChg>
      </pc:sldChg>
      <pc:sldChg chg="modSp new mod">
        <pc:chgData name="Belling, Thomas (Nokia - DE/Munich)" userId="38e53bf5-7a59-41ec-8bf1-bf611b810166" providerId="ADAL" clId="{47B682A7-1A08-4252-918C-C0C3AAF54FC1}" dt="2022-03-03T20:17:12.717" v="73" actId="14100"/>
        <pc:sldMkLst>
          <pc:docMk/>
          <pc:sldMk cId="476435417" sldId="2146846796"/>
        </pc:sldMkLst>
        <pc:spChg chg="mod">
          <ac:chgData name="Belling, Thomas (Nokia - DE/Munich)" userId="38e53bf5-7a59-41ec-8bf1-bf611b810166" providerId="ADAL" clId="{47B682A7-1A08-4252-918C-C0C3AAF54FC1}" dt="2022-03-03T20:15:16.437" v="55"/>
          <ac:spMkLst>
            <pc:docMk/>
            <pc:sldMk cId="476435417" sldId="2146846796"/>
            <ac:spMk id="2" creationId="{A5C5FA6B-5232-442C-A83D-15FD43352800}"/>
          </ac:spMkLst>
        </pc:spChg>
        <pc:spChg chg="mod">
          <ac:chgData name="Belling, Thomas (Nokia - DE/Munich)" userId="38e53bf5-7a59-41ec-8bf1-bf611b810166" providerId="ADAL" clId="{47B682A7-1A08-4252-918C-C0C3AAF54FC1}" dt="2022-03-03T20:15:02.695" v="54"/>
          <ac:spMkLst>
            <pc:docMk/>
            <pc:sldMk cId="476435417" sldId="2146846796"/>
            <ac:spMk id="3" creationId="{A305376B-8071-4719-B971-8158735C5B7F}"/>
          </ac:spMkLst>
        </pc:spChg>
        <pc:spChg chg="mod">
          <ac:chgData name="Belling, Thomas (Nokia - DE/Munich)" userId="38e53bf5-7a59-41ec-8bf1-bf611b810166" providerId="ADAL" clId="{47B682A7-1A08-4252-918C-C0C3AAF54FC1}" dt="2022-03-03T20:17:12.717" v="73" actId="14100"/>
          <ac:spMkLst>
            <pc:docMk/>
            <pc:sldMk cId="476435417" sldId="2146846796"/>
            <ac:spMk id="4" creationId="{FC0D3EA9-8686-465E-AF3E-02775AA807DF}"/>
          </ac:spMkLst>
        </pc:spChg>
      </pc:sldChg>
    </pc:docChg>
  </pc:docChgLst>
  <pc:docChgLst>
    <pc:chgData name="Casati, Alessio (Nokia - GB)" userId="6f050b0a-bf61-49f1-93be-076af52cf2e7" providerId="ADAL" clId="{94B73D4D-3442-48D8-A8D0-40A031FBCF4F}"/>
    <pc:docChg chg="undo custSel addSld delSld modSld">
      <pc:chgData name="Casati, Alessio (Nokia - GB)" userId="6f050b0a-bf61-49f1-93be-076af52cf2e7" providerId="ADAL" clId="{94B73D4D-3442-48D8-A8D0-40A031FBCF4F}" dt="2020-05-04T17:00:45.210" v="787" actId="6549"/>
      <pc:docMkLst>
        <pc:docMk/>
      </pc:docMkLst>
      <pc:sldChg chg="modSp add del">
        <pc:chgData name="Casati, Alessio (Nokia - GB)" userId="6f050b0a-bf61-49f1-93be-076af52cf2e7" providerId="ADAL" clId="{94B73D4D-3442-48D8-A8D0-40A031FBCF4F}" dt="2020-05-04T16:55:13.192" v="665" actId="27636"/>
        <pc:sldMkLst>
          <pc:docMk/>
          <pc:sldMk cId="4155464073" sldId="286"/>
        </pc:sldMkLst>
        <pc:spChg chg="mod">
          <ac:chgData name="Casati, Alessio (Nokia - GB)" userId="6f050b0a-bf61-49f1-93be-076af52cf2e7" providerId="ADAL" clId="{94B73D4D-3442-48D8-A8D0-40A031FBCF4F}" dt="2020-05-04T16:55:13.192" v="665" actId="27636"/>
          <ac:spMkLst>
            <pc:docMk/>
            <pc:sldMk cId="4155464073" sldId="286"/>
            <ac:spMk id="5" creationId="{A560F786-3A6C-41F0-99EF-DFF4DE7F777C}"/>
          </ac:spMkLst>
        </pc:spChg>
      </pc:sldChg>
      <pc:sldChg chg="modSp">
        <pc:chgData name="Casati, Alessio (Nokia - GB)" userId="6f050b0a-bf61-49f1-93be-076af52cf2e7" providerId="ADAL" clId="{94B73D4D-3442-48D8-A8D0-40A031FBCF4F}" dt="2020-05-04T16:58:04.330" v="775" actId="20577"/>
        <pc:sldMkLst>
          <pc:docMk/>
          <pc:sldMk cId="1499451625" sldId="299"/>
        </pc:sldMkLst>
        <pc:spChg chg="mod">
          <ac:chgData name="Casati, Alessio (Nokia - GB)" userId="6f050b0a-bf61-49f1-93be-076af52cf2e7" providerId="ADAL" clId="{94B73D4D-3442-48D8-A8D0-40A031FBCF4F}" dt="2020-05-04T16:58:04.330" v="775" actId="20577"/>
          <ac:spMkLst>
            <pc:docMk/>
            <pc:sldMk cId="1499451625" sldId="299"/>
            <ac:spMk id="5" creationId="{A560F786-3A6C-41F0-99EF-DFF4DE7F777C}"/>
          </ac:spMkLst>
        </pc:spChg>
      </pc:sldChg>
      <pc:sldChg chg="modSp">
        <pc:chgData name="Casati, Alessio (Nokia - GB)" userId="6f050b0a-bf61-49f1-93be-076af52cf2e7" providerId="ADAL" clId="{94B73D4D-3442-48D8-A8D0-40A031FBCF4F}" dt="2020-05-04T16:44:53.922" v="421" actId="313"/>
        <pc:sldMkLst>
          <pc:docMk/>
          <pc:sldMk cId="4180799600" sldId="300"/>
        </pc:sldMkLst>
        <pc:spChg chg="mod">
          <ac:chgData name="Casati, Alessio (Nokia - GB)" userId="6f050b0a-bf61-49f1-93be-076af52cf2e7" providerId="ADAL" clId="{94B73D4D-3442-48D8-A8D0-40A031FBCF4F}" dt="2020-05-04T16:44:53.922" v="421" actId="313"/>
          <ac:spMkLst>
            <pc:docMk/>
            <pc:sldMk cId="4180799600" sldId="300"/>
            <ac:spMk id="5" creationId="{A560F786-3A6C-41F0-99EF-DFF4DE7F777C}"/>
          </ac:spMkLst>
        </pc:spChg>
      </pc:sldChg>
      <pc:sldChg chg="modSp add">
        <pc:chgData name="Casati, Alessio (Nokia - GB)" userId="6f050b0a-bf61-49f1-93be-076af52cf2e7" providerId="ADAL" clId="{94B73D4D-3442-48D8-A8D0-40A031FBCF4F}" dt="2020-05-04T17:00:45.210" v="787" actId="6549"/>
        <pc:sldMkLst>
          <pc:docMk/>
          <pc:sldMk cId="1206555552" sldId="342"/>
        </pc:sldMkLst>
        <pc:spChg chg="mod">
          <ac:chgData name="Casati, Alessio (Nokia - GB)" userId="6f050b0a-bf61-49f1-93be-076af52cf2e7" providerId="ADAL" clId="{94B73D4D-3442-48D8-A8D0-40A031FBCF4F}" dt="2020-05-04T16:49:38.741" v="634" actId="20577"/>
          <ac:spMkLst>
            <pc:docMk/>
            <pc:sldMk cId="1206555552" sldId="342"/>
            <ac:spMk id="3" creationId="{5B84A4F0-57DA-4FC9-AEAC-815E3FF90221}"/>
          </ac:spMkLst>
        </pc:spChg>
        <pc:spChg chg="mod">
          <ac:chgData name="Casati, Alessio (Nokia - GB)" userId="6f050b0a-bf61-49f1-93be-076af52cf2e7" providerId="ADAL" clId="{94B73D4D-3442-48D8-A8D0-40A031FBCF4F}" dt="2020-05-04T16:46:09.987" v="476" actId="20577"/>
          <ac:spMkLst>
            <pc:docMk/>
            <pc:sldMk cId="1206555552" sldId="342"/>
            <ac:spMk id="4" creationId="{BDC7D266-0891-4430-9759-534065AEEEF3}"/>
          </ac:spMkLst>
        </pc:spChg>
        <pc:spChg chg="mod">
          <ac:chgData name="Casati, Alessio (Nokia - GB)" userId="6f050b0a-bf61-49f1-93be-076af52cf2e7" providerId="ADAL" clId="{94B73D4D-3442-48D8-A8D0-40A031FBCF4F}" dt="2020-05-04T17:00:45.210" v="787" actId="6549"/>
          <ac:spMkLst>
            <pc:docMk/>
            <pc:sldMk cId="1206555552" sldId="342"/>
            <ac:spMk id="5" creationId="{A560F786-3A6C-41F0-99EF-DFF4DE7F777C}"/>
          </ac:spMkLst>
        </pc:spChg>
      </pc:sldChg>
    </pc:docChg>
  </pc:docChgLst>
  <pc:docChgLst>
    <pc:chgData name="Hietalahti, Hannu (Nokia - FI/Oulu)" userId="bcd6d86d-9ffc-4aa1-b5a6-083a51dd89a7" providerId="ADAL" clId="{EBC1D665-A9F3-46FE-9C40-920755F649CB}"/>
    <pc:docChg chg="undo custSel addSld delSld modSld">
      <pc:chgData name="Hietalahti, Hannu (Nokia - FI/Oulu)" userId="bcd6d86d-9ffc-4aa1-b5a6-083a51dd89a7" providerId="ADAL" clId="{EBC1D665-A9F3-46FE-9C40-920755F649CB}" dt="2022-09-09T06:51:04.498" v="4235" actId="20577"/>
      <pc:docMkLst>
        <pc:docMk/>
      </pc:docMkLst>
      <pc:sldChg chg="delSp modSp mod">
        <pc:chgData name="Hietalahti, Hannu (Nokia - FI/Oulu)" userId="bcd6d86d-9ffc-4aa1-b5a6-083a51dd89a7" providerId="ADAL" clId="{EBC1D665-A9F3-46FE-9C40-920755F649CB}" dt="2022-09-05T13:10:00.311" v="3678" actId="403"/>
        <pc:sldMkLst>
          <pc:docMk/>
          <pc:sldMk cId="2701995069" sldId="2146846837"/>
        </pc:sldMkLst>
        <pc:spChg chg="mod">
          <ac:chgData name="Hietalahti, Hannu (Nokia - FI/Oulu)" userId="bcd6d86d-9ffc-4aa1-b5a6-083a51dd89a7" providerId="ADAL" clId="{EBC1D665-A9F3-46FE-9C40-920755F649CB}" dt="2022-09-05T13:10:00.311" v="3678" actId="403"/>
          <ac:spMkLst>
            <pc:docMk/>
            <pc:sldMk cId="2701995069" sldId="2146846837"/>
            <ac:spMk id="4" creationId="{CD72C33D-DF40-4601-AF02-8DFD5A6EA958}"/>
          </ac:spMkLst>
        </pc:spChg>
        <pc:graphicFrameChg chg="del">
          <ac:chgData name="Hietalahti, Hannu (Nokia - FI/Oulu)" userId="bcd6d86d-9ffc-4aa1-b5a6-083a51dd89a7" providerId="ADAL" clId="{EBC1D665-A9F3-46FE-9C40-920755F649CB}" dt="2022-09-05T11:05:20.520" v="306" actId="478"/>
          <ac:graphicFrameMkLst>
            <pc:docMk/>
            <pc:sldMk cId="2701995069" sldId="2146846837"/>
            <ac:graphicFrameMk id="5" creationId="{ACB35D8B-CB72-4083-B8D5-44BE58A45729}"/>
          </ac:graphicFrameMkLst>
        </pc:graphicFrameChg>
      </pc:sldChg>
      <pc:sldChg chg="delSp modSp mod">
        <pc:chgData name="Hietalahti, Hannu (Nokia - FI/Oulu)" userId="bcd6d86d-9ffc-4aa1-b5a6-083a51dd89a7" providerId="ADAL" clId="{EBC1D665-A9F3-46FE-9C40-920755F649CB}" dt="2022-09-06T06:41:58.215" v="4040" actId="20577"/>
        <pc:sldMkLst>
          <pc:docMk/>
          <pc:sldMk cId="1207088858" sldId="2146846838"/>
        </pc:sldMkLst>
        <pc:spChg chg="mod">
          <ac:chgData name="Hietalahti, Hannu (Nokia - FI/Oulu)" userId="bcd6d86d-9ffc-4aa1-b5a6-083a51dd89a7" providerId="ADAL" clId="{EBC1D665-A9F3-46FE-9C40-920755F649CB}" dt="2022-09-06T06:41:58.215" v="4040" actId="20577"/>
          <ac:spMkLst>
            <pc:docMk/>
            <pc:sldMk cId="1207088858" sldId="2146846838"/>
            <ac:spMk id="5" creationId="{A560F786-3A6C-41F0-99EF-DFF4DE7F777C}"/>
          </ac:spMkLst>
        </pc:spChg>
        <pc:graphicFrameChg chg="del">
          <ac:chgData name="Hietalahti, Hannu (Nokia - FI/Oulu)" userId="bcd6d86d-9ffc-4aa1-b5a6-083a51dd89a7" providerId="ADAL" clId="{EBC1D665-A9F3-46FE-9C40-920755F649CB}" dt="2022-09-05T11:08:34.626" v="627" actId="478"/>
          <ac:graphicFrameMkLst>
            <pc:docMk/>
            <pc:sldMk cId="1207088858" sldId="2146846838"/>
            <ac:graphicFrameMk id="6" creationId="{B900D86B-0BC6-400F-A1C3-2B03462D8A77}"/>
          </ac:graphicFrameMkLst>
        </pc:graphicFrameChg>
      </pc:sldChg>
      <pc:sldChg chg="delSp modSp mod">
        <pc:chgData name="Hietalahti, Hannu (Nokia - FI/Oulu)" userId="bcd6d86d-9ffc-4aa1-b5a6-083a51dd89a7" providerId="ADAL" clId="{EBC1D665-A9F3-46FE-9C40-920755F649CB}" dt="2022-09-06T06:42:13.045" v="4071" actId="20577"/>
        <pc:sldMkLst>
          <pc:docMk/>
          <pc:sldMk cId="3243838235" sldId="2146846839"/>
        </pc:sldMkLst>
        <pc:spChg chg="mod">
          <ac:chgData name="Hietalahti, Hannu (Nokia - FI/Oulu)" userId="bcd6d86d-9ffc-4aa1-b5a6-083a51dd89a7" providerId="ADAL" clId="{EBC1D665-A9F3-46FE-9C40-920755F649CB}" dt="2022-09-06T06:42:13.045" v="4071" actId="20577"/>
          <ac:spMkLst>
            <pc:docMk/>
            <pc:sldMk cId="3243838235" sldId="2146846839"/>
            <ac:spMk id="4" creationId="{CD72C33D-DF40-4601-AF02-8DFD5A6EA958}"/>
          </ac:spMkLst>
        </pc:spChg>
        <pc:graphicFrameChg chg="del">
          <ac:chgData name="Hietalahti, Hannu (Nokia - FI/Oulu)" userId="bcd6d86d-9ffc-4aa1-b5a6-083a51dd89a7" providerId="ADAL" clId="{EBC1D665-A9F3-46FE-9C40-920755F649CB}" dt="2022-09-05T11:49:01.268" v="1501" actId="478"/>
          <ac:graphicFrameMkLst>
            <pc:docMk/>
            <pc:sldMk cId="3243838235" sldId="2146846839"/>
            <ac:graphicFrameMk id="5" creationId="{ACB35D8B-CB72-4083-B8D5-44BE58A45729}"/>
          </ac:graphicFrameMkLst>
        </pc:graphicFrameChg>
      </pc:sldChg>
      <pc:sldChg chg="delSp modSp mod">
        <pc:chgData name="Hietalahti, Hannu (Nokia - FI/Oulu)" userId="bcd6d86d-9ffc-4aa1-b5a6-083a51dd89a7" providerId="ADAL" clId="{EBC1D665-A9F3-46FE-9C40-920755F649CB}" dt="2022-09-09T06:51:04.498" v="4235" actId="20577"/>
        <pc:sldMkLst>
          <pc:docMk/>
          <pc:sldMk cId="3193373667" sldId="2146846841"/>
        </pc:sldMkLst>
        <pc:spChg chg="mod">
          <ac:chgData name="Hietalahti, Hannu (Nokia - FI/Oulu)" userId="bcd6d86d-9ffc-4aa1-b5a6-083a51dd89a7" providerId="ADAL" clId="{EBC1D665-A9F3-46FE-9C40-920755F649CB}" dt="2022-09-09T06:51:04.498" v="4235" actId="20577"/>
          <ac:spMkLst>
            <pc:docMk/>
            <pc:sldMk cId="3193373667" sldId="2146846841"/>
            <ac:spMk id="4" creationId="{CD72C33D-DF40-4601-AF02-8DFD5A6EA958}"/>
          </ac:spMkLst>
        </pc:spChg>
        <pc:graphicFrameChg chg="del">
          <ac:chgData name="Hietalahti, Hannu (Nokia - FI/Oulu)" userId="bcd6d86d-9ffc-4aa1-b5a6-083a51dd89a7" providerId="ADAL" clId="{EBC1D665-A9F3-46FE-9C40-920755F649CB}" dt="2022-09-05T12:51:10.483" v="2865" actId="478"/>
          <ac:graphicFrameMkLst>
            <pc:docMk/>
            <pc:sldMk cId="3193373667" sldId="2146846841"/>
            <ac:graphicFrameMk id="5" creationId="{ACB35D8B-CB72-4083-B8D5-44BE58A45729}"/>
          </ac:graphicFrameMkLst>
        </pc:graphicFrameChg>
      </pc:sldChg>
      <pc:sldChg chg="modSp add del mod">
        <pc:chgData name="Hietalahti, Hannu (Nokia - FI/Oulu)" userId="bcd6d86d-9ffc-4aa1-b5a6-083a51dd89a7" providerId="ADAL" clId="{EBC1D665-A9F3-46FE-9C40-920755F649CB}" dt="2022-09-05T13:06:06.726" v="3330" actId="20577"/>
        <pc:sldMkLst>
          <pc:docMk/>
          <pc:sldMk cId="867239777" sldId="2146846842"/>
        </pc:sldMkLst>
        <pc:spChg chg="mod">
          <ac:chgData name="Hietalahti, Hannu (Nokia - FI/Oulu)" userId="bcd6d86d-9ffc-4aa1-b5a6-083a51dd89a7" providerId="ADAL" clId="{EBC1D665-A9F3-46FE-9C40-920755F649CB}" dt="2022-09-05T12:53:22.642" v="3049" actId="20577"/>
          <ac:spMkLst>
            <pc:docMk/>
            <pc:sldMk cId="867239777" sldId="2146846842"/>
            <ac:spMk id="3" creationId="{506A8607-C5AE-48A7-9AC8-7B6F426DD14D}"/>
          </ac:spMkLst>
        </pc:spChg>
        <pc:spChg chg="mod">
          <ac:chgData name="Hietalahti, Hannu (Nokia - FI/Oulu)" userId="bcd6d86d-9ffc-4aa1-b5a6-083a51dd89a7" providerId="ADAL" clId="{EBC1D665-A9F3-46FE-9C40-920755F649CB}" dt="2022-09-05T13:06:06.726" v="3330" actId="20577"/>
          <ac:spMkLst>
            <pc:docMk/>
            <pc:sldMk cId="867239777" sldId="2146846842"/>
            <ac:spMk id="4" creationId="{CD72C33D-DF40-4601-AF02-8DFD5A6EA958}"/>
          </ac:spMkLst>
        </pc:spChg>
      </pc:sldChg>
    </pc:docChg>
  </pc:docChgLst>
  <pc:docChgLst>
    <pc:chgData name="Liebhart, Rainer (Nokia - DE/Munich)" userId="9d27e965-bed7-441e-8c07-02c758a9258d" providerId="ADAL" clId="{3DA87852-996F-4BD0-B049-5E3ABBE9316C}"/>
    <pc:docChg chg="delSld modSld">
      <pc:chgData name="Liebhart, Rainer (Nokia - DE/Munich)" userId="9d27e965-bed7-441e-8c07-02c758a9258d" providerId="ADAL" clId="{3DA87852-996F-4BD0-B049-5E3ABBE9316C}" dt="2021-10-26T14:04:47.601" v="25" actId="20577"/>
      <pc:docMkLst>
        <pc:docMk/>
      </pc:docMkLst>
      <pc:sldChg chg="modSp mod">
        <pc:chgData name="Liebhart, Rainer (Nokia - DE/Munich)" userId="9d27e965-bed7-441e-8c07-02c758a9258d" providerId="ADAL" clId="{3DA87852-996F-4BD0-B049-5E3ABBE9316C}" dt="2021-10-26T14:04:47.601" v="25" actId="20577"/>
        <pc:sldMkLst>
          <pc:docMk/>
          <pc:sldMk cId="3932309764" sldId="141168862"/>
        </pc:sldMkLst>
        <pc:spChg chg="mod">
          <ac:chgData name="Liebhart, Rainer (Nokia - DE/Munich)" userId="9d27e965-bed7-441e-8c07-02c758a9258d" providerId="ADAL" clId="{3DA87852-996F-4BD0-B049-5E3ABBE9316C}" dt="2021-10-26T14:04:47.601" v="25" actId="20577"/>
          <ac:spMkLst>
            <pc:docMk/>
            <pc:sldMk cId="3932309764" sldId="141168862"/>
            <ac:spMk id="2" creationId="{673AE4A4-F521-4B46-BB77-BDFFF6278B02}"/>
          </ac:spMkLst>
        </pc:spChg>
      </pc:sldChg>
      <pc:sldChg chg="del">
        <pc:chgData name="Liebhart, Rainer (Nokia - DE/Munich)" userId="9d27e965-bed7-441e-8c07-02c758a9258d" providerId="ADAL" clId="{3DA87852-996F-4BD0-B049-5E3ABBE9316C}" dt="2021-10-26T14:04:21.238" v="0" actId="47"/>
        <pc:sldMkLst>
          <pc:docMk/>
          <pc:sldMk cId="2093721602" sldId="2134805360"/>
        </pc:sldMkLst>
      </pc:sldChg>
      <pc:sldChg chg="del">
        <pc:chgData name="Liebhart, Rainer (Nokia - DE/Munich)" userId="9d27e965-bed7-441e-8c07-02c758a9258d" providerId="ADAL" clId="{3DA87852-996F-4BD0-B049-5E3ABBE9316C}" dt="2021-10-26T14:04:22.543" v="1" actId="47"/>
        <pc:sldMkLst>
          <pc:docMk/>
          <pc:sldMk cId="4125104634" sldId="2134805480"/>
        </pc:sldMkLst>
      </pc:sldChg>
      <pc:sldChg chg="del">
        <pc:chgData name="Liebhart, Rainer (Nokia - DE/Munich)" userId="9d27e965-bed7-441e-8c07-02c758a9258d" providerId="ADAL" clId="{3DA87852-996F-4BD0-B049-5E3ABBE9316C}" dt="2021-10-26T14:04:23.561" v="2" actId="47"/>
        <pc:sldMkLst>
          <pc:docMk/>
          <pc:sldMk cId="2966222808" sldId="2134805481"/>
        </pc:sldMkLst>
      </pc:sldChg>
    </pc:docChg>
  </pc:docChgLst>
  <pc:docChgLst>
    <pc:chgData name="Chandramouli, Devaki (Nokia - US/Dallas)" userId="ebf2a9f8-651b-4485-926f-9d93c0eafbc5" providerId="ADAL" clId="{BB46BF39-E513-4B2D-98CB-879E8D3345B6}"/>
    <pc:docChg chg="custSel modSld">
      <pc:chgData name="Chandramouli, Devaki (Nokia - US/Dallas)" userId="ebf2a9f8-651b-4485-926f-9d93c0eafbc5" providerId="ADAL" clId="{BB46BF39-E513-4B2D-98CB-879E8D3345B6}" dt="2020-03-03T06:31:19.959" v="536" actId="20577"/>
      <pc:docMkLst>
        <pc:docMk/>
      </pc:docMkLst>
      <pc:sldChg chg="modSp">
        <pc:chgData name="Chandramouli, Devaki (Nokia - US/Dallas)" userId="ebf2a9f8-651b-4485-926f-9d93c0eafbc5" providerId="ADAL" clId="{BB46BF39-E513-4B2D-98CB-879E8D3345B6}" dt="2020-03-03T06:13:23.701" v="344" actId="6549"/>
        <pc:sldMkLst>
          <pc:docMk/>
          <pc:sldMk cId="1709557886" sldId="279"/>
        </pc:sldMkLst>
        <pc:spChg chg="mod">
          <ac:chgData name="Chandramouli, Devaki (Nokia - US/Dallas)" userId="ebf2a9f8-651b-4485-926f-9d93c0eafbc5" providerId="ADAL" clId="{BB46BF39-E513-4B2D-98CB-879E8D3345B6}" dt="2020-03-03T06:13:23.701" v="344" actId="6549"/>
          <ac:spMkLst>
            <pc:docMk/>
            <pc:sldMk cId="1709557886" sldId="279"/>
            <ac:spMk id="5" creationId="{A560F786-3A6C-41F0-99EF-DFF4DE7F777C}"/>
          </ac:spMkLst>
        </pc:spChg>
      </pc:sldChg>
      <pc:sldChg chg="modSp">
        <pc:chgData name="Chandramouli, Devaki (Nokia - US/Dallas)" userId="ebf2a9f8-651b-4485-926f-9d93c0eafbc5" providerId="ADAL" clId="{BB46BF39-E513-4B2D-98CB-879E8D3345B6}" dt="2020-03-03T06:13:53.884" v="346" actId="255"/>
        <pc:sldMkLst>
          <pc:docMk/>
          <pc:sldMk cId="1389723289" sldId="280"/>
        </pc:sldMkLst>
        <pc:spChg chg="mod">
          <ac:chgData name="Chandramouli, Devaki (Nokia - US/Dallas)" userId="ebf2a9f8-651b-4485-926f-9d93c0eafbc5" providerId="ADAL" clId="{BB46BF39-E513-4B2D-98CB-879E8D3345B6}" dt="2020-03-03T06:13:53.884" v="346" actId="255"/>
          <ac:spMkLst>
            <pc:docMk/>
            <pc:sldMk cId="1389723289" sldId="280"/>
            <ac:spMk id="5" creationId="{A560F786-3A6C-41F0-99EF-DFF4DE7F777C}"/>
          </ac:spMkLst>
        </pc:spChg>
      </pc:sldChg>
      <pc:sldChg chg="modSp">
        <pc:chgData name="Chandramouli, Devaki (Nokia - US/Dallas)" userId="ebf2a9f8-651b-4485-926f-9d93c0eafbc5" providerId="ADAL" clId="{BB46BF39-E513-4B2D-98CB-879E8D3345B6}" dt="2020-03-03T06:31:19.959" v="536" actId="20577"/>
        <pc:sldMkLst>
          <pc:docMk/>
          <pc:sldMk cId="2373054351" sldId="281"/>
        </pc:sldMkLst>
        <pc:spChg chg="mod">
          <ac:chgData name="Chandramouli, Devaki (Nokia - US/Dallas)" userId="ebf2a9f8-651b-4485-926f-9d93c0eafbc5" providerId="ADAL" clId="{BB46BF39-E513-4B2D-98CB-879E8D3345B6}" dt="2020-03-03T06:31:19.959" v="536" actId="20577"/>
          <ac:spMkLst>
            <pc:docMk/>
            <pc:sldMk cId="2373054351" sldId="281"/>
            <ac:spMk id="5" creationId="{A560F786-3A6C-41F0-99EF-DFF4DE7F777C}"/>
          </ac:spMkLst>
        </pc:spChg>
      </pc:sldChg>
      <pc:sldChg chg="modSp">
        <pc:chgData name="Chandramouli, Devaki (Nokia - US/Dallas)" userId="ebf2a9f8-651b-4485-926f-9d93c0eafbc5" providerId="ADAL" clId="{BB46BF39-E513-4B2D-98CB-879E8D3345B6}" dt="2020-03-03T06:13:28.671" v="345" actId="6549"/>
        <pc:sldMkLst>
          <pc:docMk/>
          <pc:sldMk cId="1172224137" sldId="287"/>
        </pc:sldMkLst>
        <pc:spChg chg="mod">
          <ac:chgData name="Chandramouli, Devaki (Nokia - US/Dallas)" userId="ebf2a9f8-651b-4485-926f-9d93c0eafbc5" providerId="ADAL" clId="{BB46BF39-E513-4B2D-98CB-879E8D3345B6}" dt="2020-03-03T06:13:28.671" v="345" actId="6549"/>
          <ac:spMkLst>
            <pc:docMk/>
            <pc:sldMk cId="1172224137" sldId="287"/>
            <ac:spMk id="5" creationId="{A560F786-3A6C-41F0-99EF-DFF4DE7F777C}"/>
          </ac:spMkLst>
        </pc:spChg>
      </pc:sldChg>
    </pc:docChg>
  </pc:docChgLst>
  <pc:docChgLst>
    <pc:chgData name="Dongjoo Kim (Nokia)" userId="S::dongjoo.kim@nokia.com::0d370802-fa40-41da-9e63-3b740686fe4e" providerId="AD" clId="Web-{3FB1FF6C-0A43-893A-0521-694B62A41AB5}"/>
    <pc:docChg chg="modSld">
      <pc:chgData name="Dongjoo Kim (Nokia)" userId="S::dongjoo.kim@nokia.com::0d370802-fa40-41da-9e63-3b740686fe4e" providerId="AD" clId="Web-{3FB1FF6C-0A43-893A-0521-694B62A41AB5}" dt="2023-01-13T06:30:25.937" v="10" actId="20577"/>
      <pc:docMkLst>
        <pc:docMk/>
      </pc:docMkLst>
      <pc:sldChg chg="modSp">
        <pc:chgData name="Dongjoo Kim (Nokia)" userId="S::dongjoo.kim@nokia.com::0d370802-fa40-41da-9e63-3b740686fe4e" providerId="AD" clId="Web-{3FB1FF6C-0A43-893A-0521-694B62A41AB5}" dt="2023-01-13T06:30:25.937" v="10" actId="20577"/>
        <pc:sldMkLst>
          <pc:docMk/>
          <pc:sldMk cId="4241780383" sldId="2146846932"/>
        </pc:sldMkLst>
        <pc:spChg chg="mod">
          <ac:chgData name="Dongjoo Kim (Nokia)" userId="S::dongjoo.kim@nokia.com::0d370802-fa40-41da-9e63-3b740686fe4e" providerId="AD" clId="Web-{3FB1FF6C-0A43-893A-0521-694B62A41AB5}" dt="2023-01-13T06:30:25.937" v="10" actId="20577"/>
          <ac:spMkLst>
            <pc:docMk/>
            <pc:sldMk cId="4241780383" sldId="2146846932"/>
            <ac:spMk id="7" creationId="{831DF6A5-C4BD-4FE9-921B-93FBAC10094C}"/>
          </ac:spMkLst>
        </pc:spChg>
      </pc:sldChg>
    </pc:docChg>
  </pc:docChgLst>
  <pc:docChgLst>
    <pc:chgData name="Thiebaut, Laurent (Nokia - FR/Paris-Saclay)" userId="S::laurent.thiebaut@nokia.com::5a0f83ef-4330-4e17-8828-eca8fc03b257" providerId="AD" clId="Web-{41DBF8B2-1ECC-138E-568C-D0910DE4F6A9}"/>
    <pc:docChg chg="modSld">
      <pc:chgData name="Thiebaut, Laurent (Nokia - FR/Paris-Saclay)" userId="S::laurent.thiebaut@nokia.com::5a0f83ef-4330-4e17-8828-eca8fc03b257" providerId="AD" clId="Web-{41DBF8B2-1ECC-138E-568C-D0910DE4F6A9}" dt="2022-03-06T12:17:41.410" v="40" actId="20577"/>
      <pc:docMkLst>
        <pc:docMk/>
      </pc:docMkLst>
      <pc:sldChg chg="modSp">
        <pc:chgData name="Thiebaut, Laurent (Nokia - FR/Paris-Saclay)" userId="S::laurent.thiebaut@nokia.com::5a0f83ef-4330-4e17-8828-eca8fc03b257" providerId="AD" clId="Web-{41DBF8B2-1ECC-138E-568C-D0910DE4F6A9}" dt="2022-03-06T12:12:46.419" v="23" actId="20577"/>
        <pc:sldMkLst>
          <pc:docMk/>
          <pc:sldMk cId="2416036818" sldId="338"/>
        </pc:sldMkLst>
        <pc:spChg chg="mod">
          <ac:chgData name="Thiebaut, Laurent (Nokia - FR/Paris-Saclay)" userId="S::laurent.thiebaut@nokia.com::5a0f83ef-4330-4e17-8828-eca8fc03b257" providerId="AD" clId="Web-{41DBF8B2-1ECC-138E-568C-D0910DE4F6A9}" dt="2022-03-06T12:12:46.419" v="23" actId="20577"/>
          <ac:spMkLst>
            <pc:docMk/>
            <pc:sldMk cId="2416036818" sldId="338"/>
            <ac:spMk id="5" creationId="{0A813F0E-7224-42E6-A359-B5A9B05FEE7A}"/>
          </ac:spMkLst>
        </pc:spChg>
      </pc:sldChg>
      <pc:sldChg chg="modSp">
        <pc:chgData name="Thiebaut, Laurent (Nokia - FR/Paris-Saclay)" userId="S::laurent.thiebaut@nokia.com::5a0f83ef-4330-4e17-8828-eca8fc03b257" providerId="AD" clId="Web-{41DBF8B2-1ECC-138E-568C-D0910DE4F6A9}" dt="2022-03-06T12:16:39.096" v="34" actId="1076"/>
        <pc:sldMkLst>
          <pc:docMk/>
          <pc:sldMk cId="374592939" sldId="2134805583"/>
        </pc:sldMkLst>
        <pc:spChg chg="mod">
          <ac:chgData name="Thiebaut, Laurent (Nokia - FR/Paris-Saclay)" userId="S::laurent.thiebaut@nokia.com::5a0f83ef-4330-4e17-8828-eca8fc03b257" providerId="AD" clId="Web-{41DBF8B2-1ECC-138E-568C-D0910DE4F6A9}" dt="2022-03-06T12:16:31.252" v="33" actId="20577"/>
          <ac:spMkLst>
            <pc:docMk/>
            <pc:sldMk cId="374592939" sldId="2134805583"/>
            <ac:spMk id="2" creationId="{F55F6DD9-9F73-4475-B4C0-0BD35C69E49D}"/>
          </ac:spMkLst>
        </pc:spChg>
        <pc:spChg chg="mod">
          <ac:chgData name="Thiebaut, Laurent (Nokia - FR/Paris-Saclay)" userId="S::laurent.thiebaut@nokia.com::5a0f83ef-4330-4e17-8828-eca8fc03b257" providerId="AD" clId="Web-{41DBF8B2-1ECC-138E-568C-D0910DE4F6A9}" dt="2022-03-06T12:16:39.096" v="34" actId="1076"/>
          <ac:spMkLst>
            <pc:docMk/>
            <pc:sldMk cId="374592939" sldId="2134805583"/>
            <ac:spMk id="3" creationId="{506A8607-C5AE-48A7-9AC8-7B6F426DD14D}"/>
          </ac:spMkLst>
        </pc:spChg>
        <pc:spChg chg="mod">
          <ac:chgData name="Thiebaut, Laurent (Nokia - FR/Paris-Saclay)" userId="S::laurent.thiebaut@nokia.com::5a0f83ef-4330-4e17-8828-eca8fc03b257" providerId="AD" clId="Web-{41DBF8B2-1ECC-138E-568C-D0910DE4F6A9}" dt="2022-03-06T12:16:16.361" v="30" actId="20577"/>
          <ac:spMkLst>
            <pc:docMk/>
            <pc:sldMk cId="374592939" sldId="2134805583"/>
            <ac:spMk id="4" creationId="{CD72C33D-DF40-4601-AF02-8DFD5A6EA958}"/>
          </ac:spMkLst>
        </pc:spChg>
      </pc:sldChg>
      <pc:sldChg chg="modSp">
        <pc:chgData name="Thiebaut, Laurent (Nokia - FR/Paris-Saclay)" userId="S::laurent.thiebaut@nokia.com::5a0f83ef-4330-4e17-8828-eca8fc03b257" providerId="AD" clId="Web-{41DBF8B2-1ECC-138E-568C-D0910DE4F6A9}" dt="2022-03-06T12:17:41.410" v="40" actId="20577"/>
        <pc:sldMkLst>
          <pc:docMk/>
          <pc:sldMk cId="2969031349" sldId="2134805584"/>
        </pc:sldMkLst>
        <pc:spChg chg="mod">
          <ac:chgData name="Thiebaut, Laurent (Nokia - FR/Paris-Saclay)" userId="S::laurent.thiebaut@nokia.com::5a0f83ef-4330-4e17-8828-eca8fc03b257" providerId="AD" clId="Web-{41DBF8B2-1ECC-138E-568C-D0910DE4F6A9}" dt="2022-03-06T12:17:41.410" v="40" actId="20577"/>
          <ac:spMkLst>
            <pc:docMk/>
            <pc:sldMk cId="2969031349" sldId="2134805584"/>
            <ac:spMk id="4" creationId="{CD72C33D-DF40-4601-AF02-8DFD5A6EA958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03831C-DEBA-4A3A-8C36-FD8115E217DA}" type="datetimeFigureOut">
              <a:rPr lang="en-US" smtClean="0"/>
              <a:t>4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D4EF5B-ECC8-43EE-A509-D601DDF42A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180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543A0E-70E6-46DB-8F7C-06A0214599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7788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_Four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9C1B709-09CD-404B-B852-419096D068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9B7F28-94B8-42B4-A97D-4EBCB20F67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AB4DD6D-9400-4306-8B75-2CFF920828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D6FBD4C-557B-402F-9039-EF287BD8EA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EF9DDB-0B87-42B5-98DF-391316BABF9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9312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sz="1800" baseline="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9187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488"/>
              </a:spcAft>
              <a:defRPr baseline="0"/>
            </a:lvl1pPr>
            <a:lvl2pPr>
              <a:spcAft>
                <a:spcPts val="488"/>
              </a:spcAft>
              <a:defRPr/>
            </a:lvl2pPr>
            <a:lvl3pPr>
              <a:spcAft>
                <a:spcPts val="488"/>
              </a:spcAft>
              <a:defRPr/>
            </a:lvl3pPr>
            <a:lvl4pPr>
              <a:spcAft>
                <a:spcPts val="488"/>
              </a:spcAft>
              <a:defRPr/>
            </a:lvl4pPr>
            <a:lvl5pPr>
              <a:spcAft>
                <a:spcPts val="488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2" y="279263"/>
            <a:ext cx="8229601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50" cy="301625"/>
          </a:xfrm>
        </p:spPr>
        <p:txBody>
          <a:bodyPr/>
          <a:lstStyle>
            <a:lvl1pPr marL="0" indent="0">
              <a:buFont typeface="Arial"/>
              <a:buNone/>
              <a:defRPr sz="1464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6181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_Blue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A4F04206-BA94-4881-BA5F-F4855044D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Main headline in sentence cas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2395FE5-ACED-4CF9-93C7-742199141A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7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354AD9-06FB-4C15-A48D-5001BBC6FF5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1DDC49-8DAE-42EA-847C-6ED7E3A1DD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88" y="34045"/>
            <a:ext cx="1589956" cy="66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186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_Blue Text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252EEB5-B067-4FF5-9D6E-45AD772491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9673B1-D3FB-43B2-8D91-D053CDDCAFB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9504A1-6308-446D-B073-C43CF250BB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6905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_White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39167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_Gray Text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252EEB5-B067-4FF5-9D6E-45AD772491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2E6FA3-ED47-4E0C-B044-550E170D1A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1496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_Gray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4E133-AF05-4EA9-B8C1-517DA46C9D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4863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_Gray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799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4E133-AF05-4EA9-B8C1-517DA46C9D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475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6ACA32E-1514-4C51-81FE-2CEEC177A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557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6528516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1 Blue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A4F04206-BA94-4881-BA5F-F4855044D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Main headline in sentence cas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2395FE5-ACED-4CF9-93C7-742199141A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1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7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42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1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28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658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028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4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0">
              <a:lnSpc>
                <a:spcPct val="100000"/>
              </a:lnSpc>
            </a:pPr>
            <a:r>
              <a:rPr lang="en-US"/>
              <a:t>Author/Presenter</a:t>
            </a:r>
          </a:p>
          <a:p>
            <a:pPr lvl="0">
              <a:lnSpc>
                <a:spcPct val="100000"/>
              </a:lnSpc>
            </a:pPr>
            <a:r>
              <a:rPr lang="en-US"/>
              <a:t>DD-MM-YYY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1DDC49-8DAE-42EA-847C-6ED7E3A1DD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89" y="34045"/>
            <a:ext cx="1589956" cy="669288"/>
          </a:xfrm>
          <a:prstGeom prst="rect">
            <a:avLst/>
          </a:prstGeom>
        </p:spPr>
      </p:pic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16E7A4BE-1F4A-4597-BD6C-FBB58DE10A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769090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890474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1 Colored backgrou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488692-1B81-41AC-8A96-DCE2E9F51D4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513" y="1080000"/>
            <a:ext cx="83088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23037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</a:defRPr>
            </a:lvl2pPr>
            <a:lvl3pPr marL="464342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69471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430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A4388E39-0A2B-4CF7-9BE5-379FC10FC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4135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7707174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6117554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6ACA32E-1514-4C51-81FE-2CEEC177A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2888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0500293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1 Colored backgrou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488692-1B81-41AC-8A96-DCE2E9F51D4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513" y="1080000"/>
            <a:ext cx="83088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23038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</a:defRPr>
            </a:lvl2pPr>
            <a:lvl3pPr marL="46437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694766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532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A4388E39-0A2B-4CF7-9BE5-379FC10FC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57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4317436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611722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Single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B4B383DF-E841-4958-AC70-1FE077578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6D425CB6-0BAB-4AB6-ADCE-D68F0C1DF8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87D8427-6029-4956-BF93-C47F0DB879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5243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6ACA32E-1514-4C51-81FE-2CEEC177A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9495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1 Blue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A4F04206-BA94-4881-BA5F-F4855044D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Main headline in sentence cas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2395FE5-ACED-4CF9-93C7-742199141A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1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76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54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32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0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686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063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44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0">
              <a:lnSpc>
                <a:spcPct val="100000"/>
              </a:lnSpc>
            </a:pPr>
            <a:r>
              <a:rPr lang="en-US"/>
              <a:t>Author/Presenter</a:t>
            </a:r>
          </a:p>
          <a:p>
            <a:pPr lvl="0">
              <a:lnSpc>
                <a:spcPct val="100000"/>
              </a:lnSpc>
            </a:pPr>
            <a:r>
              <a:rPr lang="en-US"/>
              <a:t>DD-MM-YYY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1DDC49-8DAE-42EA-847C-6ED7E3A1DD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89" y="34045"/>
            <a:ext cx="1589956" cy="669288"/>
          </a:xfrm>
          <a:prstGeom prst="rect">
            <a:avLst/>
          </a:prstGeom>
        </p:spPr>
      </p:pic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16E7A4BE-1F4A-4597-BD6C-FBB58DE10A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157770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5416230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1 Colored backgrou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488692-1B81-41AC-8A96-DCE2E9F51D4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513" y="1080000"/>
            <a:ext cx="83088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230376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</a:defRPr>
            </a:lvl2pPr>
            <a:lvl3pPr marL="464354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694732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464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A4388E39-0A2B-4CF7-9BE5-379FC10FC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1875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3960804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42151418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6ACA32E-1514-4C51-81FE-2CEEC177A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813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6233224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1 Colored backgrou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488692-1B81-41AC-8A96-DCE2E9F51D4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513" y="1080000"/>
            <a:ext cx="83088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23038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</a:defRPr>
            </a:lvl2pPr>
            <a:lvl3pPr marL="46437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694766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532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A4388E39-0A2B-4CF7-9BE5-379FC10FC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978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379270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_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able Placeholder 2">
            <a:extLst>
              <a:ext uri="{FF2B5EF4-FFF2-40B4-BE49-F238E27FC236}">
                <a16:creationId xmlns:a16="http://schemas.microsoft.com/office/drawing/2014/main" id="{1CF4B30C-BC0A-4BED-8EEF-4DDEF7B9FAB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746ED1-96F6-4AE8-9D3A-0266CB4B73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41583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8774405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6ACA32E-1514-4C51-81FE-2CEEC177A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662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1 Blue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A4F04206-BA94-4881-BA5F-F4855044D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Main headline in sentence cas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2395FE5-ACED-4CF9-93C7-742199141A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1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7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42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1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28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658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028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4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0">
              <a:lnSpc>
                <a:spcPct val="100000"/>
              </a:lnSpc>
            </a:pPr>
            <a:r>
              <a:rPr lang="en-US"/>
              <a:t>Author/Presenter</a:t>
            </a:r>
          </a:p>
          <a:p>
            <a:pPr lvl="0">
              <a:lnSpc>
                <a:spcPct val="100000"/>
              </a:lnSpc>
            </a:pPr>
            <a:r>
              <a:rPr lang="en-US"/>
              <a:t>DD-MM-YYY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1DDC49-8DAE-42EA-847C-6ED7E3A1DD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89" y="34045"/>
            <a:ext cx="1589956" cy="669288"/>
          </a:xfrm>
          <a:prstGeom prst="rect">
            <a:avLst/>
          </a:prstGeom>
        </p:spPr>
      </p:pic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16E7A4BE-1F4A-4597-BD6C-FBB58DE10A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06990"/>
      </p:ext>
    </p:extLst>
  </p:cSld>
  <p:clrMapOvr>
    <a:masterClrMapping/>
  </p:clrMapOvr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51273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1 Colored backgrou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488692-1B81-41AC-8A96-DCE2E9F51D4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513" y="1080000"/>
            <a:ext cx="83088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23037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</a:defRPr>
            </a:lvl2pPr>
            <a:lvl3pPr marL="464342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69471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430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A4388E39-0A2B-4CF7-9BE5-379FC10FC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802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1910351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8586225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6ACA32E-1514-4C51-81FE-2CEEC177A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9452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2715273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1 Colored backgrou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488692-1B81-41AC-8A96-DCE2E9F51D4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513" y="1080000"/>
            <a:ext cx="83088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230382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</a:defRPr>
            </a:lvl2pPr>
            <a:lvl3pPr marL="464366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694749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498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A4388E39-0A2B-4CF7-9BE5-379FC10FC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565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_Single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SmartArt Placeholder 2">
            <a:extLst>
              <a:ext uri="{FF2B5EF4-FFF2-40B4-BE49-F238E27FC236}">
                <a16:creationId xmlns:a16="http://schemas.microsoft.com/office/drawing/2014/main" id="{9E969AE7-D418-4354-A166-2D9EC9AFFBD5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SmartArt graphic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B72D45-B478-45D6-BC5D-D958ACDFA9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46086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7635617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6829571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6ACA32E-1514-4C51-81FE-2CEEC177A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869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448716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1 Colored backgrou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488692-1B81-41AC-8A96-DCE2E9F51D4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513" y="1080000"/>
            <a:ext cx="83088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23038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</a:defRPr>
            </a:lvl2pPr>
            <a:lvl3pPr marL="46437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694766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532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A4388E39-0A2B-4CF7-9BE5-379FC10FC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6802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6481195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86174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6ACA32E-1514-4C51-81FE-2CEEC177A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3556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1734106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1 Colored backgrou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488692-1B81-41AC-8A96-DCE2E9F51D4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513" y="1080000"/>
            <a:ext cx="83088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230382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</a:defRPr>
            </a:lvl2pPr>
            <a:lvl3pPr marL="464366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694749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498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A4388E39-0A2B-4CF7-9BE5-379FC10FC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6346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_Two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48EFACD-CEB2-4692-815C-86D19FBB4A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BCB907-9E7B-4CB2-B9DE-4FC3076D2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4DFDF-6038-42CF-9F88-F60BDA6A7F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472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6948271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605734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sz="1800" baseline="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724319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800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 baseline="0"/>
            </a:lvl1pPr>
            <a:lvl2pPr marL="0" indent="0">
              <a:spcAft>
                <a:spcPts val="600"/>
              </a:spcAft>
              <a:buNone/>
              <a:defRPr sz="180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50571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129591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solidFill>
                  <a:srgbClr val="001135"/>
                </a:solidFill>
                <a:cs typeface="Arial" panose="020B0604020202020204" pitchFamily="34" charset="0"/>
              </a:rPr>
              <a:t>Customer Confidentia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261221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832471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8331571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Single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5DDEE8-FF3C-4742-BB8C-B09BB2526A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B4B383DF-E841-4958-AC70-1FE077578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6D425CB6-0BAB-4AB6-ADCE-D68F0C1DF8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87D8427-6029-4956-BF93-C47F0DB879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981303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_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able Placeholder 2">
            <a:extLst>
              <a:ext uri="{FF2B5EF4-FFF2-40B4-BE49-F238E27FC236}">
                <a16:creationId xmlns:a16="http://schemas.microsoft.com/office/drawing/2014/main" id="{1CF4B30C-BC0A-4BED-8EEF-4DDEF7B9FAB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746ED1-96F6-4AE8-9D3A-0266CB4B73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7649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_Two Column M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469832-DACB-40B0-988E-5D708FA937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able Placeholder 4">
            <a:extLst>
              <a:ext uri="{FF2B5EF4-FFF2-40B4-BE49-F238E27FC236}">
                <a16:creationId xmlns:a16="http://schemas.microsoft.com/office/drawing/2014/main" id="{B3F0CABE-2F16-456A-A120-390FEDFE43A9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8BA92-8F61-4F9A-B36F-9769D72C71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53576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_Single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SmartArt Placeholder 2">
            <a:extLst>
              <a:ext uri="{FF2B5EF4-FFF2-40B4-BE49-F238E27FC236}">
                <a16:creationId xmlns:a16="http://schemas.microsoft.com/office/drawing/2014/main" id="{9E969AE7-D418-4354-A166-2D9EC9AFFBD5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SmartArt graphic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B72D45-B478-45D6-BC5D-D958ACDFA9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3178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_Two Column M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469832-DACB-40B0-988E-5D708FA937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able Placeholder 4">
            <a:extLst>
              <a:ext uri="{FF2B5EF4-FFF2-40B4-BE49-F238E27FC236}">
                <a16:creationId xmlns:a16="http://schemas.microsoft.com/office/drawing/2014/main" id="{B3F0CABE-2F16-456A-A120-390FEDFE43A9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noProof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5141226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_Three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B478DF6-0668-488C-9E0C-4567E0DE8F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rgbClr val="000000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C091DE-89A6-4271-8BB9-BAB40C67B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lang="en-US" sz="1600" kern="1200" noProof="0" dirty="0">
                <a:solidFill>
                  <a:srgbClr val="000000"/>
                </a:solidFill>
                <a:latin typeface="+mn-lt"/>
                <a:ea typeface="ヒラギノ角ゴ Pro W3" charset="0"/>
                <a:cs typeface="ヒラギノ角ゴ Pro W3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marL="0" lvl="0" indent="0" algn="l" defTabSz="457200" rtl="0" eaLnBrk="0" fontAlgn="base" hangingPunct="0">
              <a:spcBef>
                <a:spcPts val="0"/>
              </a:spcBef>
              <a:spcAft>
                <a:spcPts val="600"/>
              </a:spcAft>
              <a:buFont typeface="Arial" charset="0"/>
              <a:buNone/>
            </a:pPr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D1772D9-E08D-420E-AB34-CCAC26D77F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lang="en-US" sz="1600" kern="1200" noProof="0" dirty="0">
                <a:solidFill>
                  <a:srgbClr val="000000"/>
                </a:solidFill>
                <a:latin typeface="+mn-lt"/>
                <a:ea typeface="ヒラギノ角ゴ Pro W3" charset="0"/>
                <a:cs typeface="ヒラギノ角ゴ Pro W3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marL="0" lvl="0" indent="0" algn="l" defTabSz="457200" rtl="0" eaLnBrk="0" fontAlgn="base" hangingPunct="0">
              <a:spcBef>
                <a:spcPts val="0"/>
              </a:spcBef>
              <a:spcAft>
                <a:spcPts val="600"/>
              </a:spcAft>
              <a:buFont typeface="Arial" charset="0"/>
              <a:buNone/>
            </a:pPr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27631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latin typeface="Nokia Pure Text Light"/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768827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AB211-B1D6-4DD3-89A0-79FEAD5B5DEE}" type="datetimeFigureOut">
              <a:rPr lang="fr-FR" smtClean="0"/>
              <a:t>04/04/20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7C93B-69CE-4806-9200-B2D4D89336A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752454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6ACA32E-1514-4C51-81FE-2CEEC177A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60712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7608029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1 Colored backgrou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488692-1B81-41AC-8A96-DCE2E9F51D4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513" y="1080000"/>
            <a:ext cx="83088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23038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</a:defRPr>
            </a:lvl2pPr>
            <a:lvl3pPr marL="46437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694766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532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A4388E39-0A2B-4CF7-9BE5-379FC10FC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9629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48049358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6274071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_Three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B478DF6-0668-488C-9E0C-4567E0DE8F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C091DE-89A6-4271-8BB9-BAB40C67B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D1772D9-E08D-420E-AB34-CCAC26D77F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D23F99-89E3-4290-B5FE-D72F99F36EA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4956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_Three Column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able Placeholder 2">
            <a:extLst>
              <a:ext uri="{FF2B5EF4-FFF2-40B4-BE49-F238E27FC236}">
                <a16:creationId xmlns:a16="http://schemas.microsoft.com/office/drawing/2014/main" id="{D0874136-2C1C-4222-98DA-D238FBD9743F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17312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2" name="Table Placeholder 2">
            <a:extLst>
              <a:ext uri="{FF2B5EF4-FFF2-40B4-BE49-F238E27FC236}">
                <a16:creationId xmlns:a16="http://schemas.microsoft.com/office/drawing/2014/main" id="{B9EA6A3E-9087-42C1-89A6-8204E100E361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6132423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3" name="Table Placeholder 2">
            <a:extLst>
              <a:ext uri="{FF2B5EF4-FFF2-40B4-BE49-F238E27FC236}">
                <a16:creationId xmlns:a16="http://schemas.microsoft.com/office/drawing/2014/main" id="{98BD97D8-C9D8-4E9B-90F2-C010D6EE811E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273879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C81E09-B357-4439-BD31-02945978E3D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790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4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5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54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55.xml"/><Relationship Id="rId9" Type="http://schemas.openxmlformats.org/officeDocument/2006/relationships/image" Target="../media/image5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59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60.xml"/><Relationship Id="rId9" Type="http://schemas.openxmlformats.org/officeDocument/2006/relationships/image" Target="../media/image5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77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79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78.xml"/><Relationship Id="rId9" Type="http://schemas.openxmlformats.org/officeDocument/2006/relationships/image" Target="../media/image5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22.xml"/><Relationship Id="rId9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27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5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2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33.xml"/><Relationship Id="rId9" Type="http://schemas.openxmlformats.org/officeDocument/2006/relationships/oleObject" Target="../embeddings/oleObject3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38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5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43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44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132662" y="4952963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891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85" r:id="rId2"/>
    <p:sldLayoutId id="2147483686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849" r:id="rId11"/>
    <p:sldLayoutId id="2147483780" r:id="rId1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5B781F-92AD-4F7D-93F1-94FB07B8A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2951645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39" imgH="140" progId="TCLayout.ActiveDocument.1">
                  <p:embed/>
                </p:oleObj>
              </mc:Choice>
              <mc:Fallback>
                <p:oleObj name="think-cell Slide" r:id="rId8" imgW="139" imgH="1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5B781F-92AD-4F7D-93F1-94FB07B8A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3"/>
            <a:ext cx="1008112" cy="424363"/>
          </a:xfrm>
          <a:prstGeom prst="rect">
            <a:avLst/>
          </a:prstGeom>
        </p:spPr>
      </p:pic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EADA63F2-071F-49FE-9BAA-8C3821C04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476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</p:sldLayoutIdLst>
  <p:hf sldNum="0" hd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5B781F-92AD-4F7D-93F1-94FB07B8A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76022295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39" imgH="140" progId="TCLayout.ActiveDocument.1">
                  <p:embed/>
                </p:oleObj>
              </mc:Choice>
              <mc:Fallback>
                <p:oleObj name="think-cell Slide" r:id="rId8" imgW="139" imgH="1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5B781F-92AD-4F7D-93F1-94FB07B8A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2"/>
            <a:ext cx="1008112" cy="424363"/>
          </a:xfrm>
          <a:prstGeom prst="rect">
            <a:avLst/>
          </a:prstGeom>
        </p:spPr>
      </p:pic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EADA63F2-071F-49FE-9BAA-8C3821C04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802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</p:sldLayoutIdLst>
  <p:hf sldNum="0"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5B781F-92AD-4F7D-93F1-94FB07B8A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1679818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39" imgH="140" progId="TCLayout.ActiveDocument.1">
                  <p:embed/>
                </p:oleObj>
              </mc:Choice>
              <mc:Fallback>
                <p:oleObj name="think-cell Slide" r:id="rId8" imgW="139" imgH="1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5B781F-92AD-4F7D-93F1-94FB07B8A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3"/>
            <a:ext cx="1008112" cy="424363"/>
          </a:xfrm>
          <a:prstGeom prst="rect">
            <a:avLst/>
          </a:prstGeom>
        </p:spPr>
      </p:pic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EADA63F2-071F-49FE-9BAA-8C3821C04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015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</p:sldLayoutIdLst>
  <p:hf sldNum="0" hd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>
                <a:solidFill>
                  <a:schemeClr val="tx2"/>
                </a:solidFill>
                <a:latin typeface="+mn-l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re and background </a:t>
            </a:r>
            <a:r>
              <a:rPr lang="en-GB" sz="500" b="1" err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lors</a:t>
            </a:r>
            <a:r>
              <a:rPr lang="en-GB" sz="500" b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 userDrawn="1"/>
        </p:nvSpPr>
        <p:spPr>
          <a:xfrm>
            <a:off x="1503363" y="4749800"/>
            <a:ext cx="60785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GB" sz="80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defRPr/>
            </a:pPr>
            <a:endParaRPr lang="en-GB" sz="80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432000" y="4787900"/>
            <a:ext cx="6078537" cy="24622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>
                <a:solidFill>
                  <a:schemeClr val="bg2"/>
                </a:solidFill>
                <a:latin typeface="+mn-lt"/>
                <a:cs typeface="Arial" charset="0"/>
              </a:rPr>
              <a:t>Nokia – 2022 SA&amp;CT Coordination</a:t>
            </a:r>
          </a:p>
          <a:p>
            <a:pPr>
              <a:defRPr/>
            </a:pPr>
            <a:r>
              <a:rPr lang="en-GB" sz="800">
                <a:solidFill>
                  <a:schemeClr val="bg2"/>
                </a:solidFill>
                <a:latin typeface="+mn-lt"/>
                <a:cs typeface="Arial" charset="0"/>
              </a:rPr>
              <a:t> Customer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73541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  <p:sldLayoutId id="2147483921" r:id="rId12"/>
    <p:sldLayoutId id="2147483922" r:id="rId13"/>
  </p:sldLayoutIdLst>
  <p:hf sldNum="0"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5B781F-92AD-4F7D-93F1-94FB07B8A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1265947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39" imgH="140" progId="TCLayout.ActiveDocument.1">
                  <p:embed/>
                </p:oleObj>
              </mc:Choice>
              <mc:Fallback>
                <p:oleObj name="think-cell Slide" r:id="rId8" imgW="139" imgH="1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5B781F-92AD-4F7D-93F1-94FB07B8A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2"/>
            <a:ext cx="1008112" cy="424363"/>
          </a:xfrm>
          <a:prstGeom prst="rect">
            <a:avLst/>
          </a:prstGeom>
        </p:spPr>
      </p:pic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EADA63F2-071F-49FE-9BAA-8C3821C04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619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</p:sldLayoutIdLst>
  <p:hf sldNum="0"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35D8FD1-98D9-47C9-885D-370F1B25E0D7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D45D477-1173-4B46-833F-F999BFE938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9EA08E70-E40A-4C76-ADD7-CA63C95746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352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C1C3A2-73EF-4E4E-97C2-1C446243E8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180" y="2031750"/>
            <a:ext cx="256564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388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35D8FD1-98D9-47C9-885D-370F1B25E0D7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D45D477-1173-4B46-833F-F999BFE938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E74C75-1C44-4A6F-9F21-72B5E3ACCB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38F1B2-3B70-46D3-B6FC-0199A17FB7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286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5B781F-92AD-4F7D-93F1-94FB07B8A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81665930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139" imgH="140" progId="TCLayout.ActiveDocument.1">
                  <p:embed/>
                </p:oleObj>
              </mc:Choice>
              <mc:Fallback>
                <p:oleObj name="think-cell Slide" r:id="rId9" imgW="139" imgH="1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5B781F-92AD-4F7D-93F1-94FB07B8A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5"/>
            <a:ext cx="1008112" cy="424363"/>
          </a:xfrm>
          <a:prstGeom prst="rect">
            <a:avLst/>
          </a:prstGeom>
        </p:spPr>
      </p:pic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EADA63F2-071F-49FE-9BAA-8C3821C04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671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</p:sldLayoutIdLst>
  <p:hf sldNum="0" hdr="0" dt="0"/>
  <p:txStyles>
    <p:titleStyle>
      <a:lvl1pPr algn="l" defTabSz="685715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0" indent="-171430" algn="l" defTabSz="68571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89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44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00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57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15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73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30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89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7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15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3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30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89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44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00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57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5B781F-92AD-4F7D-93F1-94FB07B8A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0837911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39" imgH="140" progId="TCLayout.ActiveDocument.1">
                  <p:embed/>
                </p:oleObj>
              </mc:Choice>
              <mc:Fallback>
                <p:oleObj name="think-cell Slide" r:id="rId8" imgW="139" imgH="1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5B781F-92AD-4F7D-93F1-94FB07B8A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2"/>
            <a:ext cx="1008112" cy="424363"/>
          </a:xfrm>
          <a:prstGeom prst="rect">
            <a:avLst/>
          </a:prstGeom>
        </p:spPr>
      </p:pic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EADA63F2-071F-49FE-9BAA-8C3821C04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645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</p:sldLayoutIdLst>
  <p:hf sldNum="0"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5B781F-92AD-4F7D-93F1-94FB07B8A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8547467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139" imgH="140" progId="TCLayout.ActiveDocument.1">
                  <p:embed/>
                </p:oleObj>
              </mc:Choice>
              <mc:Fallback>
                <p:oleObj name="think-cell Slide" r:id="rId9" imgW="139" imgH="1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5B781F-92AD-4F7D-93F1-94FB07B8A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4"/>
            <a:ext cx="1008112" cy="424363"/>
          </a:xfrm>
          <a:prstGeom prst="rect">
            <a:avLst/>
          </a:prstGeom>
        </p:spPr>
      </p:pic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EADA63F2-071F-49FE-9BAA-8C3821C04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019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</p:sldLayoutIdLst>
  <p:hf sldNum="0" hdr="0" dt="0"/>
  <p:txStyles>
    <p:titleStyle>
      <a:lvl1pPr algn="l" defTabSz="685732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4" indent="-171434" algn="l" defTabSz="685732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65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30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96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62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28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4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61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3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68573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8" algn="l" defTabSz="68573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4" algn="l" defTabSz="68573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1" algn="l" defTabSz="68573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68573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5B781F-92AD-4F7D-93F1-94FB07B8A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36586635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39" imgH="140" progId="TCLayout.ActiveDocument.1">
                  <p:embed/>
                </p:oleObj>
              </mc:Choice>
              <mc:Fallback>
                <p:oleObj name="think-cell Slide" r:id="rId8" imgW="139" imgH="1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5B781F-92AD-4F7D-93F1-94FB07B8A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2"/>
            <a:ext cx="1008112" cy="424363"/>
          </a:xfrm>
          <a:prstGeom prst="rect">
            <a:avLst/>
          </a:prstGeom>
        </p:spPr>
      </p:pic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EADA63F2-071F-49FE-9BAA-8C3821C04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117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</p:sldLayoutIdLst>
  <p:hf sldNum="0"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5B781F-92AD-4F7D-93F1-94FB07B8A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40331833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139" imgH="140" progId="TCLayout.ActiveDocument.1">
                  <p:embed/>
                </p:oleObj>
              </mc:Choice>
              <mc:Fallback>
                <p:oleObj name="think-cell Slide" r:id="rId9" imgW="139" imgH="1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5B781F-92AD-4F7D-93F1-94FB07B8A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5"/>
            <a:ext cx="1008112" cy="424363"/>
          </a:xfrm>
          <a:prstGeom prst="rect">
            <a:avLst/>
          </a:prstGeom>
        </p:spPr>
      </p:pic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EADA63F2-071F-49FE-9BAA-8C3821C04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</p:sldLayoutIdLst>
  <p:hf sldNum="0" hdr="0" dt="0"/>
  <p:txStyles>
    <p:titleStyle>
      <a:lvl1pPr algn="l" defTabSz="685715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0" indent="-171430" algn="l" defTabSz="68571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89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44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00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57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15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73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30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89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7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15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3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30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89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44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00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57" algn="l" defTabSz="68571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5F6DD9-9F73-4475-B4C0-0BD35C69E4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435600"/>
            <a:ext cx="8308800" cy="309600"/>
          </a:xfrm>
        </p:spPr>
        <p:txBody>
          <a:bodyPr lIns="0" tIns="0" rIns="0" bIns="0" anchor="t"/>
          <a:lstStyle/>
          <a:p>
            <a:r>
              <a:rPr lang="en-GB" sz="1600" dirty="0">
                <a:effectLst/>
                <a:ea typeface="+mj-lt"/>
                <a:cs typeface="+mj-lt"/>
              </a:rPr>
              <a:t>)</a:t>
            </a:r>
            <a:endParaRPr lang="en-US" dirty="0">
              <a:ea typeface="+mj-lt"/>
              <a:cs typeface="+mj-lt"/>
            </a:endParaRPr>
          </a:p>
          <a:p>
            <a:endParaRPr lang="en-GB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US" sz="21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6A8607-C5AE-48A7-9AC8-7B6F426DD1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26000"/>
            <a:ext cx="8726400" cy="309600"/>
          </a:xfrm>
        </p:spPr>
        <p:txBody>
          <a:bodyPr lIns="0" tIns="0" rIns="0" bIns="0" anchor="t"/>
          <a:lstStyle/>
          <a:p>
            <a:r>
              <a:rPr lang="de-DE" dirty="0" err="1"/>
              <a:t>Rel</a:t>
            </a:r>
            <a:r>
              <a:rPr lang="de-DE" dirty="0"/>
              <a:t> 18 </a:t>
            </a:r>
            <a:r>
              <a:rPr lang="de-DE" sz="1800" dirty="0"/>
              <a:t>„</a:t>
            </a:r>
            <a:r>
              <a:rPr lang="en-GB" sz="1800" dirty="0">
                <a:effectLst/>
                <a:latin typeface="Arial"/>
                <a:ea typeface="Times New Roman" panose="02020603050405020304" pitchFamily="18" charset="0"/>
                <a:cs typeface="Arial"/>
              </a:rPr>
              <a:t>Enhancement of support for Edge Computing in 5GC- phase 2”</a:t>
            </a:r>
            <a:endParaRPr lang="fr-FR" sz="1800" dirty="0">
              <a:effectLst/>
              <a:latin typeface="Arial"/>
              <a:ea typeface="Arial" panose="020B0604020202020204" pitchFamily="34" charset="0"/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72C33D-DF40-4601-AF02-8DFD5A6EA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6377" y="945225"/>
            <a:ext cx="8902931" cy="4069688"/>
          </a:xfrm>
        </p:spPr>
        <p:txBody>
          <a:bodyPr lIns="0" tIns="0" rIns="0" bIns="0" anchor="t">
            <a:normAutofit/>
          </a:bodyPr>
          <a:lstStyle/>
          <a:p>
            <a:pPr marL="515620" lvl="1" indent="-285750">
              <a:buFont typeface="Arial"/>
              <a:buChar char="•"/>
            </a:pPr>
            <a:r>
              <a:rPr lang="en-GB" dirty="0">
                <a:ea typeface="+mn-lt"/>
                <a:cs typeface="+mn-lt"/>
              </a:rPr>
              <a:t>Still open, actually one of the main open points for the next meeting, is the DNS traffic  forwarding </a:t>
            </a:r>
            <a:r>
              <a:rPr lang="en-GB" dirty="0">
                <a:effectLst/>
                <a:ea typeface="+mn-lt"/>
                <a:cs typeface="+mn-lt"/>
              </a:rPr>
              <a:t>between </a:t>
            </a:r>
            <a:r>
              <a:rPr lang="en-GB" dirty="0">
                <a:ea typeface="+mn-lt"/>
                <a:cs typeface="+mn-lt"/>
              </a:rPr>
              <a:t>UE, V-EASDF, HPLMN DNS server</a:t>
            </a:r>
            <a:endParaRPr lang="en-GB" dirty="0"/>
          </a:p>
          <a:p>
            <a:pPr marL="734695">
              <a:lnSpc>
                <a:spcPct val="120000"/>
              </a:lnSpc>
              <a:spcAft>
                <a:spcPts val="0"/>
              </a:spcAft>
            </a:pPr>
            <a:endParaRPr lang="en-US" sz="1100" dirty="0">
              <a:effectLst/>
              <a:latin typeface="MS Mincho"/>
              <a:ea typeface="MS Mincho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567706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5F6DD9-9F73-4475-B4C0-0BD35C69E4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435600"/>
            <a:ext cx="8308800" cy="309600"/>
          </a:xfrm>
        </p:spPr>
        <p:txBody>
          <a:bodyPr lIns="0" tIns="0" rIns="0" bIns="0" anchor="t"/>
          <a:lstStyle/>
          <a:p>
            <a:r>
              <a:rPr lang="en-US" sz="1800" dirty="0"/>
              <a:t>issue related with DNS traffic forwarding between V-EASDF and HDNS serv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6A8607-C5AE-48A7-9AC8-7B6F426DD1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0833"/>
            <a:ext cx="8726400" cy="309600"/>
          </a:xfrm>
        </p:spPr>
        <p:txBody>
          <a:bodyPr lIns="0" tIns="0" rIns="0" bIns="0" anchor="t"/>
          <a:lstStyle/>
          <a:p>
            <a:r>
              <a:rPr lang="de-DE" dirty="0" err="1"/>
              <a:t>Rel</a:t>
            </a:r>
            <a:r>
              <a:rPr lang="de-DE" dirty="0"/>
              <a:t> 18 </a:t>
            </a:r>
            <a:r>
              <a:rPr lang="de-DE" sz="1800" dirty="0"/>
              <a:t>„</a:t>
            </a:r>
            <a:r>
              <a:rPr lang="en-GB" sz="1800" dirty="0">
                <a:effectLst/>
                <a:latin typeface="Arial"/>
                <a:ea typeface="Times New Roman" panose="02020603050405020304" pitchFamily="18" charset="0"/>
                <a:cs typeface="Arial"/>
              </a:rPr>
              <a:t>Enhancement of support for Edge Computing in 5GC- phase 2” / HR-SBO</a:t>
            </a:r>
            <a:endParaRPr lang="fr-FR" sz="1800" dirty="0">
              <a:effectLst/>
              <a:latin typeface="Arial"/>
              <a:ea typeface="Arial" panose="020B0604020202020204" pitchFamily="34" charset="0"/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72C33D-DF40-4601-AF02-8DFD5A6EA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6377" y="945225"/>
            <a:ext cx="8902931" cy="308724"/>
          </a:xfrm>
        </p:spPr>
        <p:txBody>
          <a:bodyPr lIns="0" tIns="0" rIns="0" bIns="0" anchor="t">
            <a:normAutofit/>
          </a:bodyPr>
          <a:lstStyle/>
          <a:p>
            <a:pPr>
              <a:buFont typeface="Arial" panose="05050102010706020507" pitchFamily="18" charset="2"/>
              <a:buChar char="•"/>
            </a:pPr>
            <a:r>
              <a:rPr lang="en-GB" sz="1400" dirty="0">
                <a:ea typeface="+mn-lt"/>
                <a:cs typeface="+mn-lt"/>
              </a:rPr>
              <a:t>Issue is that VPLMN and HPLMN may each use private IP addressing on N6 + inter PLMN securit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4725B4-DA0A-4B86-A4F2-23ADC3F30502}"/>
              </a:ext>
            </a:extLst>
          </p:cNvPr>
          <p:cNvSpPr txBox="1"/>
          <p:nvPr/>
        </p:nvSpPr>
        <p:spPr>
          <a:xfrm>
            <a:off x="2335697" y="2447364"/>
            <a:ext cx="685800" cy="49084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V-UPF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D10607-B484-4BFB-9F9E-4FCC5E8FF209}"/>
              </a:ext>
            </a:extLst>
          </p:cNvPr>
          <p:cNvSpPr txBox="1"/>
          <p:nvPr/>
        </p:nvSpPr>
        <p:spPr>
          <a:xfrm>
            <a:off x="2335697" y="3557005"/>
            <a:ext cx="685800" cy="490843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7030A0"/>
                </a:solidFill>
              </a:rPr>
              <a:t>V-EASDF</a:t>
            </a:r>
            <a:endParaRPr lang="en-US" sz="1200" dirty="0">
              <a:solidFill>
                <a:srgbClr val="7030A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D83A3D-D5E3-4DCC-B6D4-4743BC073E4B}"/>
              </a:ext>
            </a:extLst>
          </p:cNvPr>
          <p:cNvSpPr txBox="1"/>
          <p:nvPr/>
        </p:nvSpPr>
        <p:spPr>
          <a:xfrm>
            <a:off x="4888006" y="2447363"/>
            <a:ext cx="685800" cy="49084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H-UPF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0DA980-EBE7-4A9B-B524-50818E845235}"/>
              </a:ext>
            </a:extLst>
          </p:cNvPr>
          <p:cNvSpPr txBox="1"/>
          <p:nvPr/>
        </p:nvSpPr>
        <p:spPr>
          <a:xfrm>
            <a:off x="4888006" y="3557005"/>
            <a:ext cx="685800" cy="49084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00B050"/>
                </a:solidFill>
              </a:rPr>
              <a:t>H DNS server</a:t>
            </a:r>
            <a:endParaRPr lang="en-US" sz="1200" dirty="0">
              <a:solidFill>
                <a:srgbClr val="00B050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928555F-4051-43FA-ACDC-3D95537B26C7}"/>
              </a:ext>
            </a:extLst>
          </p:cNvPr>
          <p:cNvCxnSpPr>
            <a:endCxn id="5" idx="1"/>
          </p:cNvCxnSpPr>
          <p:nvPr/>
        </p:nvCxnSpPr>
        <p:spPr>
          <a:xfrm>
            <a:off x="1398494" y="2675964"/>
            <a:ext cx="937203" cy="0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3C92B70-F163-469C-ABB5-EBE2BE42BB36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3021497" y="2675963"/>
            <a:ext cx="1866509" cy="16822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1C6DD6F-1C7C-47C8-983B-156F5938B910}"/>
              </a:ext>
            </a:extLst>
          </p:cNvPr>
          <p:cNvCxnSpPr>
            <a:cxnSpLocks/>
          </p:cNvCxnSpPr>
          <p:nvPr/>
        </p:nvCxnSpPr>
        <p:spPr>
          <a:xfrm>
            <a:off x="5226748" y="2938207"/>
            <a:ext cx="0" cy="618798"/>
          </a:xfrm>
          <a:prstGeom prst="line">
            <a:avLst/>
          </a:prstGeom>
          <a:ln w="31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3D2619-AD3E-4EFC-97B3-B905F9984462}"/>
              </a:ext>
            </a:extLst>
          </p:cNvPr>
          <p:cNvCxnSpPr>
            <a:cxnSpLocks/>
          </p:cNvCxnSpPr>
          <p:nvPr/>
        </p:nvCxnSpPr>
        <p:spPr>
          <a:xfrm>
            <a:off x="2678597" y="2919157"/>
            <a:ext cx="0" cy="618798"/>
          </a:xfrm>
          <a:prstGeom prst="line">
            <a:avLst/>
          </a:prstGeom>
          <a:ln w="31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29119EF-EAF7-4459-A6CF-AF8392FD27A6}"/>
              </a:ext>
            </a:extLst>
          </p:cNvPr>
          <p:cNvSpPr txBox="1"/>
          <p:nvPr/>
        </p:nvSpPr>
        <p:spPr>
          <a:xfrm>
            <a:off x="1734671" y="2258925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N3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C8F9A5C-B432-4C77-A594-ACD9B4502036}"/>
              </a:ext>
            </a:extLst>
          </p:cNvPr>
          <p:cNvSpPr txBox="1"/>
          <p:nvPr/>
        </p:nvSpPr>
        <p:spPr>
          <a:xfrm>
            <a:off x="3917994" y="2292566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N9</a:t>
            </a:r>
            <a:endParaRPr lang="en-US" sz="1200" dirty="0">
              <a:solidFill>
                <a:schemeClr val="tx2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6756737-2F73-40DD-9BA5-C997C9A8B34A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>
            <a:off x="3021497" y="3802427"/>
            <a:ext cx="1866509" cy="0"/>
          </a:xfrm>
          <a:prstGeom prst="straightConnector1">
            <a:avLst/>
          </a:prstGeom>
          <a:ln w="3175">
            <a:solidFill>
              <a:srgbClr val="C00000"/>
            </a:solidFill>
            <a:prstDash val="lgDash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E20B7512-A5DF-481E-8EED-7CD743624129}"/>
              </a:ext>
            </a:extLst>
          </p:cNvPr>
          <p:cNvSpPr/>
          <p:nvPr/>
        </p:nvSpPr>
        <p:spPr>
          <a:xfrm>
            <a:off x="1855695" y="2938207"/>
            <a:ext cx="1500076" cy="1405193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6EC32F0-73D9-4650-81E5-1D9E83C82284}"/>
              </a:ext>
            </a:extLst>
          </p:cNvPr>
          <p:cNvSpPr/>
          <p:nvPr/>
        </p:nvSpPr>
        <p:spPr>
          <a:xfrm>
            <a:off x="4480868" y="2938207"/>
            <a:ext cx="1500076" cy="140519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F01CB76-54E5-4D42-A61C-1BFBA69366B5}"/>
              </a:ext>
            </a:extLst>
          </p:cNvPr>
          <p:cNvSpPr txBox="1"/>
          <p:nvPr/>
        </p:nvSpPr>
        <p:spPr>
          <a:xfrm>
            <a:off x="3324825" y="3826827"/>
            <a:ext cx="1139964" cy="3128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Direct exchange not possible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910DEF-88CA-5D87-EA95-0EECC63CCCD6}"/>
              </a:ext>
            </a:extLst>
          </p:cNvPr>
          <p:cNvSpPr txBox="1"/>
          <p:nvPr/>
        </p:nvSpPr>
        <p:spPr>
          <a:xfrm>
            <a:off x="703193" y="3406640"/>
            <a:ext cx="1163902" cy="64120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7030A0"/>
                </a:solidFill>
              </a:rPr>
              <a:t>VPLMN </a:t>
            </a:r>
            <a:r>
              <a:rPr lang="fr-FR" sz="1200" dirty="0" err="1">
                <a:solidFill>
                  <a:srgbClr val="7030A0"/>
                </a:solidFill>
              </a:rPr>
              <a:t>private</a:t>
            </a:r>
            <a:r>
              <a:rPr lang="fr-FR" sz="1200" dirty="0">
                <a:solidFill>
                  <a:srgbClr val="7030A0"/>
                </a:solidFill>
              </a:rPr>
              <a:t> </a:t>
            </a:r>
            <a:r>
              <a:rPr lang="fr-FR" sz="1200" dirty="0" err="1">
                <a:solidFill>
                  <a:srgbClr val="7030A0"/>
                </a:solidFill>
              </a:rPr>
              <a:t>addressing</a:t>
            </a:r>
            <a:r>
              <a:rPr lang="fr-FR" sz="1200" dirty="0">
                <a:solidFill>
                  <a:srgbClr val="7030A0"/>
                </a:solidFill>
              </a:rPr>
              <a:t> on N6</a:t>
            </a:r>
            <a:endParaRPr lang="en-US" sz="1200" dirty="0">
              <a:solidFill>
                <a:srgbClr val="7030A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1FEC0F9-CE4C-B55A-7B1D-08969A775A87}"/>
              </a:ext>
            </a:extLst>
          </p:cNvPr>
          <p:cNvSpPr txBox="1"/>
          <p:nvPr/>
        </p:nvSpPr>
        <p:spPr>
          <a:xfrm>
            <a:off x="2650121" y="2973743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7030A0"/>
                </a:solidFill>
              </a:rPr>
              <a:t>N6</a:t>
            </a:r>
            <a:endParaRPr lang="en-US" sz="1200" dirty="0">
              <a:solidFill>
                <a:srgbClr val="7030A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8ED366A-04A4-EEF8-DC08-89F535B6B2BF}"/>
              </a:ext>
            </a:extLst>
          </p:cNvPr>
          <p:cNvSpPr txBox="1"/>
          <p:nvPr/>
        </p:nvSpPr>
        <p:spPr>
          <a:xfrm>
            <a:off x="5312572" y="3028831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accent6">
                    <a:lumMod val="75000"/>
                  </a:schemeClr>
                </a:solidFill>
              </a:rPr>
              <a:t>N6</a:t>
            </a:r>
            <a:endParaRPr lang="en-US" sz="12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7895E9A-71CE-19BB-19F2-FD39C9675425}"/>
              </a:ext>
            </a:extLst>
          </p:cNvPr>
          <p:cNvSpPr txBox="1"/>
          <p:nvPr/>
        </p:nvSpPr>
        <p:spPr>
          <a:xfrm>
            <a:off x="208196" y="2356738"/>
            <a:ext cx="217198" cy="49084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UE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F87E88-1694-2E6A-A78B-D30F8261EF45}"/>
              </a:ext>
            </a:extLst>
          </p:cNvPr>
          <p:cNvSpPr txBox="1"/>
          <p:nvPr/>
        </p:nvSpPr>
        <p:spPr>
          <a:xfrm>
            <a:off x="768294" y="2362978"/>
            <a:ext cx="630200" cy="49084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RAN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E893A70-E178-6C6E-F0F0-8EB358231C04}"/>
              </a:ext>
            </a:extLst>
          </p:cNvPr>
          <p:cNvSpPr txBox="1"/>
          <p:nvPr/>
        </p:nvSpPr>
        <p:spPr>
          <a:xfrm>
            <a:off x="6013103" y="3406640"/>
            <a:ext cx="1163902" cy="64120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accent6">
                    <a:lumMod val="75000"/>
                  </a:schemeClr>
                </a:solidFill>
              </a:rPr>
              <a:t>HPLMN </a:t>
            </a:r>
            <a:r>
              <a:rPr lang="fr-FR" sz="1200" dirty="0" err="1">
                <a:solidFill>
                  <a:schemeClr val="accent6">
                    <a:lumMod val="75000"/>
                  </a:schemeClr>
                </a:solidFill>
              </a:rPr>
              <a:t>private</a:t>
            </a:r>
            <a:r>
              <a:rPr lang="fr-FR" sz="12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fr-FR" sz="1200" dirty="0" err="1">
                <a:solidFill>
                  <a:schemeClr val="accent6">
                    <a:lumMod val="75000"/>
                  </a:schemeClr>
                </a:solidFill>
              </a:rPr>
              <a:t>addressing</a:t>
            </a:r>
            <a:r>
              <a:rPr lang="fr-FR" sz="1200" dirty="0">
                <a:solidFill>
                  <a:schemeClr val="accent6">
                    <a:lumMod val="75000"/>
                  </a:schemeClr>
                </a:solidFill>
              </a:rPr>
              <a:t> on N6</a:t>
            </a:r>
            <a:endParaRPr lang="en-US" sz="12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BFED8E-6A11-FFFE-CF79-D3F6D2637F14}"/>
              </a:ext>
            </a:extLst>
          </p:cNvPr>
          <p:cNvCxnSpPr/>
          <p:nvPr/>
        </p:nvCxnSpPr>
        <p:spPr>
          <a:xfrm flipH="1">
            <a:off x="3753631" y="1586435"/>
            <a:ext cx="9278" cy="3456232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4244B97-4175-C8F4-10EA-29829D4D6D6E}"/>
              </a:ext>
            </a:extLst>
          </p:cNvPr>
          <p:cNvSpPr txBox="1"/>
          <p:nvPr/>
        </p:nvSpPr>
        <p:spPr>
          <a:xfrm>
            <a:off x="3007341" y="2454652"/>
            <a:ext cx="488575" cy="48355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IPUPS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BEDE2A5-B57B-000B-04CC-E56E066BC373}"/>
              </a:ext>
            </a:extLst>
          </p:cNvPr>
          <p:cNvSpPr txBox="1"/>
          <p:nvPr/>
        </p:nvSpPr>
        <p:spPr>
          <a:xfrm>
            <a:off x="4399431" y="2451007"/>
            <a:ext cx="488575" cy="48355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IPUPS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AF8A5DD-DEB9-170F-B3ED-557392049455}"/>
              </a:ext>
            </a:extLst>
          </p:cNvPr>
          <p:cNvSpPr txBox="1"/>
          <p:nvPr/>
        </p:nvSpPr>
        <p:spPr>
          <a:xfrm>
            <a:off x="1677618" y="1513191"/>
            <a:ext cx="4092154" cy="3128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GTP-u </a:t>
            </a:r>
            <a:r>
              <a:rPr lang="fr-FR" sz="1200" dirty="0" err="1">
                <a:solidFill>
                  <a:schemeClr val="tx2"/>
                </a:solidFill>
              </a:rPr>
              <a:t>tunelling</a:t>
            </a:r>
            <a:r>
              <a:rPr lang="fr-FR" sz="1200" dirty="0">
                <a:solidFill>
                  <a:schemeClr val="tx2"/>
                </a:solidFill>
              </a:rPr>
              <a:t> over N3/N9 </a:t>
            </a:r>
            <a:r>
              <a:rPr lang="fr-FR" sz="1200" dirty="0" err="1">
                <a:solidFill>
                  <a:schemeClr val="tx2"/>
                </a:solidFill>
              </a:rPr>
              <a:t>hides</a:t>
            </a:r>
            <a:r>
              <a:rPr lang="fr-FR" sz="1200" dirty="0">
                <a:solidFill>
                  <a:schemeClr val="tx2"/>
                </a:solidFill>
              </a:rPr>
              <a:t> </a:t>
            </a:r>
            <a:r>
              <a:rPr lang="fr-FR" sz="1200" dirty="0" err="1">
                <a:solidFill>
                  <a:schemeClr val="tx2"/>
                </a:solidFill>
              </a:rPr>
              <a:t>private</a:t>
            </a:r>
            <a:r>
              <a:rPr lang="fr-FR" sz="1200" dirty="0">
                <a:solidFill>
                  <a:schemeClr val="tx2"/>
                </a:solidFill>
              </a:rPr>
              <a:t> IP </a:t>
            </a:r>
            <a:r>
              <a:rPr lang="fr-FR" sz="1200" dirty="0" err="1">
                <a:solidFill>
                  <a:schemeClr val="tx2"/>
                </a:solidFill>
              </a:rPr>
              <a:t>addresses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A758228-7C27-4165-6391-21B7B9EACD42}"/>
              </a:ext>
            </a:extLst>
          </p:cNvPr>
          <p:cNvSpPr txBox="1">
            <a:spLocks/>
          </p:cNvSpPr>
          <p:nvPr/>
        </p:nvSpPr>
        <p:spPr>
          <a:xfrm>
            <a:off x="425395" y="4653753"/>
            <a:ext cx="7515448" cy="43349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t">
            <a:normAutofit fontScale="92500" lnSpcReduction="2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4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626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930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234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382400" indent="-228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12800" indent="-17145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43200" indent="-17145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5050102010706020507" pitchFamily="18" charset="2"/>
              <a:buChar char="•"/>
            </a:pPr>
            <a:r>
              <a:rPr lang="en-GB" sz="1400" dirty="0">
                <a:ea typeface="+mn-lt"/>
                <a:cs typeface="+mn-lt"/>
              </a:rPr>
              <a:t>Direct exchange between V-EASDF and HPLMN (HDNS) DNS server not possible</a:t>
            </a:r>
          </a:p>
          <a:p>
            <a:pPr>
              <a:buFont typeface="Arial" panose="05050102010706020507" pitchFamily="18" charset="2"/>
              <a:buChar char="•"/>
            </a:pPr>
            <a:r>
              <a:rPr lang="en-GB" sz="1400" dirty="0">
                <a:ea typeface="+mn-lt"/>
                <a:cs typeface="+mn-lt"/>
              </a:rPr>
              <a:t>Reusing IPUPS allows reuse of existing Inter PLMN security mechanism</a:t>
            </a:r>
          </a:p>
          <a:p>
            <a:pPr marL="734695">
              <a:lnSpc>
                <a:spcPct val="120000"/>
              </a:lnSpc>
              <a:spcAft>
                <a:spcPts val="0"/>
              </a:spcAft>
            </a:pPr>
            <a:endParaRPr lang="en-US" sz="1100" dirty="0">
              <a:latin typeface="MS Mincho"/>
              <a:ea typeface="MS Mincho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3474613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5F6DD9-9F73-4475-B4C0-0BD35C69E4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435600"/>
            <a:ext cx="8308800" cy="309600"/>
          </a:xfrm>
        </p:spPr>
        <p:txBody>
          <a:bodyPr lIns="0" tIns="0" rIns="0" bIns="0" anchor="t"/>
          <a:lstStyle/>
          <a:p>
            <a:r>
              <a:rPr lang="en-GB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olution: </a:t>
            </a:r>
            <a:r>
              <a:rPr lang="en-GB" sz="1600" dirty="0">
                <a:ea typeface="+mn-lt"/>
                <a:cs typeface="+mn-lt"/>
              </a:rPr>
              <a:t>traffic to be tunnelled on the N9 tunnel of the PDU Session </a:t>
            </a:r>
            <a:r>
              <a:rPr lang="en-GB" sz="1600" dirty="0">
                <a:ea typeface="+mn-lt"/>
                <a:cs typeface="+mn-lt"/>
                <a:sym typeface="Wingdings" panose="05000000000000000000" pitchFamily="2" charset="2"/>
              </a:rPr>
              <a:t> </a:t>
            </a:r>
            <a:r>
              <a:rPr lang="en-GB" sz="1600" dirty="0">
                <a:ea typeface="+mn-lt"/>
                <a:cs typeface="+mn-lt"/>
              </a:rPr>
              <a:t>No Change to HPLMN</a:t>
            </a:r>
            <a:endParaRPr lang="en-GB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US" sz="21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6A8607-C5AE-48A7-9AC8-7B6F426DD1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26000"/>
            <a:ext cx="8726400" cy="309600"/>
          </a:xfrm>
        </p:spPr>
        <p:txBody>
          <a:bodyPr lIns="0" tIns="0" rIns="0" bIns="0" anchor="t"/>
          <a:lstStyle/>
          <a:p>
            <a:r>
              <a:rPr lang="de-DE" dirty="0" err="1"/>
              <a:t>Rel</a:t>
            </a:r>
            <a:r>
              <a:rPr lang="de-DE" dirty="0"/>
              <a:t> 18 </a:t>
            </a:r>
            <a:r>
              <a:rPr lang="de-DE" sz="1800" dirty="0"/>
              <a:t>„</a:t>
            </a:r>
            <a:r>
              <a:rPr lang="en-GB" sz="1800" dirty="0">
                <a:effectLst/>
                <a:latin typeface="Arial"/>
                <a:ea typeface="Times New Roman" panose="02020603050405020304" pitchFamily="18" charset="0"/>
                <a:cs typeface="Arial"/>
              </a:rPr>
              <a:t>Enhancement of support for Edge Computing in 5GC- phase 2” / HR-SBO</a:t>
            </a:r>
            <a:endParaRPr lang="fr-FR" sz="1800" dirty="0">
              <a:effectLst/>
              <a:latin typeface="Arial"/>
              <a:ea typeface="Arial" panose="020B0604020202020204" pitchFamily="34" charset="0"/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72C33D-DF40-4601-AF02-8DFD5A6EA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6377" y="945225"/>
            <a:ext cx="5033139" cy="418773"/>
          </a:xfrm>
        </p:spPr>
        <p:txBody>
          <a:bodyPr lIns="0" tIns="0" rIns="0" bIns="0" anchor="t">
            <a:normAutofit/>
          </a:bodyPr>
          <a:lstStyle/>
          <a:p>
            <a:pPr>
              <a:buFont typeface="Arial" panose="05050102010706020507" pitchFamily="18" charset="2"/>
              <a:buChar char="•"/>
            </a:pPr>
            <a:r>
              <a:rPr lang="en-GB" sz="1400" dirty="0">
                <a:ea typeface="+mn-lt"/>
                <a:cs typeface="+mn-lt"/>
              </a:rPr>
              <a:t>V-SMF to control </a:t>
            </a:r>
            <a:r>
              <a:rPr lang="en-GB" sz="1400" dirty="0">
                <a:solidFill>
                  <a:srgbClr val="C00000"/>
                </a:solidFill>
                <a:ea typeface="+mn-lt"/>
                <a:cs typeface="+mn-lt"/>
              </a:rPr>
              <a:t>tunnelling between V-EASDF and V-UPF</a:t>
            </a:r>
            <a:endParaRPr lang="en-GB" sz="1400" dirty="0">
              <a:solidFill>
                <a:srgbClr val="C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4725B4-DA0A-4B86-A4F2-23ADC3F30502}"/>
              </a:ext>
            </a:extLst>
          </p:cNvPr>
          <p:cNvSpPr txBox="1"/>
          <p:nvPr/>
        </p:nvSpPr>
        <p:spPr>
          <a:xfrm>
            <a:off x="1622272" y="1749575"/>
            <a:ext cx="685800" cy="49084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V-UPF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D10607-B484-4BFB-9F9E-4FCC5E8FF209}"/>
              </a:ext>
            </a:extLst>
          </p:cNvPr>
          <p:cNvSpPr txBox="1"/>
          <p:nvPr/>
        </p:nvSpPr>
        <p:spPr>
          <a:xfrm>
            <a:off x="1622272" y="2859216"/>
            <a:ext cx="685800" cy="490843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7030A0"/>
                </a:solidFill>
              </a:rPr>
              <a:t>V-EASDF</a:t>
            </a:r>
            <a:endParaRPr lang="en-US" sz="1200" dirty="0">
              <a:solidFill>
                <a:srgbClr val="7030A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D83A3D-D5E3-4DCC-B6D4-4743BC073E4B}"/>
              </a:ext>
            </a:extLst>
          </p:cNvPr>
          <p:cNvSpPr txBox="1"/>
          <p:nvPr/>
        </p:nvSpPr>
        <p:spPr>
          <a:xfrm>
            <a:off x="4174581" y="1749575"/>
            <a:ext cx="685800" cy="49084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H-UPF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0DA980-EBE7-4A9B-B524-50818E845235}"/>
              </a:ext>
            </a:extLst>
          </p:cNvPr>
          <p:cNvSpPr txBox="1"/>
          <p:nvPr/>
        </p:nvSpPr>
        <p:spPr>
          <a:xfrm>
            <a:off x="4174581" y="2859216"/>
            <a:ext cx="685800" cy="49084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00B050"/>
                </a:solidFill>
              </a:rPr>
              <a:t>H DNS server</a:t>
            </a:r>
            <a:endParaRPr lang="en-US" sz="1200" dirty="0">
              <a:solidFill>
                <a:srgbClr val="00B050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928555F-4051-43FA-ACDC-3D95537B26C7}"/>
              </a:ext>
            </a:extLst>
          </p:cNvPr>
          <p:cNvCxnSpPr>
            <a:endCxn id="5" idx="1"/>
          </p:cNvCxnSpPr>
          <p:nvPr/>
        </p:nvCxnSpPr>
        <p:spPr>
          <a:xfrm>
            <a:off x="685069" y="1978175"/>
            <a:ext cx="937203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3C92B70-F163-469C-ABB5-EBE2BE42BB36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2308072" y="1978175"/>
            <a:ext cx="1866509" cy="16822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1C6DD6F-1C7C-47C8-983B-156F5938B910}"/>
              </a:ext>
            </a:extLst>
          </p:cNvPr>
          <p:cNvCxnSpPr>
            <a:cxnSpLocks/>
          </p:cNvCxnSpPr>
          <p:nvPr/>
        </p:nvCxnSpPr>
        <p:spPr>
          <a:xfrm>
            <a:off x="4513323" y="2240418"/>
            <a:ext cx="0" cy="618798"/>
          </a:xfrm>
          <a:prstGeom prst="line">
            <a:avLst/>
          </a:prstGeom>
          <a:ln w="31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3D2619-AD3E-4EFC-97B3-B905F9984462}"/>
              </a:ext>
            </a:extLst>
          </p:cNvPr>
          <p:cNvCxnSpPr>
            <a:cxnSpLocks/>
          </p:cNvCxnSpPr>
          <p:nvPr/>
        </p:nvCxnSpPr>
        <p:spPr>
          <a:xfrm>
            <a:off x="1965172" y="2221368"/>
            <a:ext cx="0" cy="618798"/>
          </a:xfrm>
          <a:prstGeom prst="line">
            <a:avLst/>
          </a:prstGeom>
          <a:ln w="31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29119EF-EAF7-4459-A6CF-AF8392FD27A6}"/>
              </a:ext>
            </a:extLst>
          </p:cNvPr>
          <p:cNvSpPr txBox="1"/>
          <p:nvPr/>
        </p:nvSpPr>
        <p:spPr>
          <a:xfrm>
            <a:off x="0" y="1804410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N3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C8F9A5C-B432-4C77-A594-ACD9B4502036}"/>
              </a:ext>
            </a:extLst>
          </p:cNvPr>
          <p:cNvSpPr txBox="1"/>
          <p:nvPr/>
        </p:nvSpPr>
        <p:spPr>
          <a:xfrm>
            <a:off x="3040206" y="1594778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N9</a:t>
            </a:r>
            <a:endParaRPr lang="en-US" sz="1200" dirty="0">
              <a:solidFill>
                <a:schemeClr val="tx2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6756737-2F73-40DD-9BA5-C997C9A8B34A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>
            <a:off x="2308072" y="3104638"/>
            <a:ext cx="1866509" cy="0"/>
          </a:xfrm>
          <a:prstGeom prst="straightConnector1">
            <a:avLst/>
          </a:prstGeom>
          <a:ln w="3175">
            <a:solidFill>
              <a:srgbClr val="C00000"/>
            </a:solidFill>
            <a:prstDash val="lgDash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E20B7512-A5DF-481E-8EED-7CD743624129}"/>
              </a:ext>
            </a:extLst>
          </p:cNvPr>
          <p:cNvSpPr/>
          <p:nvPr/>
        </p:nvSpPr>
        <p:spPr>
          <a:xfrm>
            <a:off x="1142270" y="2240418"/>
            <a:ext cx="1500076" cy="1405193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6EC32F0-73D9-4650-81E5-1D9E83C82284}"/>
              </a:ext>
            </a:extLst>
          </p:cNvPr>
          <p:cNvSpPr/>
          <p:nvPr/>
        </p:nvSpPr>
        <p:spPr>
          <a:xfrm>
            <a:off x="3767443" y="2240418"/>
            <a:ext cx="1500076" cy="140519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F01CB76-54E5-4D42-A61C-1BFBA69366B5}"/>
              </a:ext>
            </a:extLst>
          </p:cNvPr>
          <p:cNvSpPr txBox="1"/>
          <p:nvPr/>
        </p:nvSpPr>
        <p:spPr>
          <a:xfrm>
            <a:off x="2698824" y="3104637"/>
            <a:ext cx="1139964" cy="3128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Direct exchange not possible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8FB92D77-7FFD-495F-B304-F01A81FC3F06}"/>
              </a:ext>
            </a:extLst>
          </p:cNvPr>
          <p:cNvSpPr/>
          <p:nvPr/>
        </p:nvSpPr>
        <p:spPr>
          <a:xfrm>
            <a:off x="619872" y="1855059"/>
            <a:ext cx="1230269" cy="983371"/>
          </a:xfrm>
          <a:custGeom>
            <a:avLst/>
            <a:gdLst>
              <a:gd name="connsiteX0" fmla="*/ 0 w 1230269"/>
              <a:gd name="connsiteY0" fmla="*/ 95865 h 983371"/>
              <a:gd name="connsiteX1" fmla="*/ 1089212 w 1230269"/>
              <a:gd name="connsiteY1" fmla="*/ 82418 h 983371"/>
              <a:gd name="connsiteX2" fmla="*/ 1183341 w 1230269"/>
              <a:gd name="connsiteY2" fmla="*/ 983371 h 983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0269" h="983371">
                <a:moveTo>
                  <a:pt x="0" y="95865"/>
                </a:moveTo>
                <a:cubicBezTo>
                  <a:pt x="445994" y="15182"/>
                  <a:pt x="891989" y="-65500"/>
                  <a:pt x="1089212" y="82418"/>
                </a:cubicBezTo>
                <a:cubicBezTo>
                  <a:pt x="1286436" y="230336"/>
                  <a:pt x="1234888" y="606853"/>
                  <a:pt x="1183341" y="983371"/>
                </a:cubicBezTo>
              </a:path>
            </a:pathLst>
          </a:custGeom>
          <a:noFill/>
          <a:ln>
            <a:solidFill>
              <a:schemeClr val="tx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02FB70C-B4FA-459B-96FA-DEB380BE6D56}"/>
              </a:ext>
            </a:extLst>
          </p:cNvPr>
          <p:cNvSpPr/>
          <p:nvPr/>
        </p:nvSpPr>
        <p:spPr>
          <a:xfrm>
            <a:off x="2111878" y="1919876"/>
            <a:ext cx="334756" cy="1039935"/>
          </a:xfrm>
          <a:custGeom>
            <a:avLst/>
            <a:gdLst>
              <a:gd name="connsiteX0" fmla="*/ 12026 w 334756"/>
              <a:gd name="connsiteY0" fmla="*/ 1039935 h 1039935"/>
              <a:gd name="connsiteX1" fmla="*/ 38921 w 334756"/>
              <a:gd name="connsiteY1" fmla="*/ 125535 h 1039935"/>
              <a:gd name="connsiteX2" fmla="*/ 334756 w 334756"/>
              <a:gd name="connsiteY2" fmla="*/ 31406 h 103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4756" h="1039935">
                <a:moveTo>
                  <a:pt x="12026" y="1039935"/>
                </a:moveTo>
                <a:cubicBezTo>
                  <a:pt x="-1421" y="666779"/>
                  <a:pt x="-14867" y="293623"/>
                  <a:pt x="38921" y="125535"/>
                </a:cubicBezTo>
                <a:cubicBezTo>
                  <a:pt x="92709" y="-42553"/>
                  <a:pt x="213732" y="-5574"/>
                  <a:pt x="334756" y="31406"/>
                </a:cubicBezTo>
              </a:path>
            </a:pathLst>
          </a:custGeom>
          <a:noFill/>
          <a:ln>
            <a:solidFill>
              <a:srgbClr val="C0000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C6ACBC5-0981-4256-836F-A8B6E9C2C481}"/>
              </a:ext>
            </a:extLst>
          </p:cNvPr>
          <p:cNvSpPr/>
          <p:nvPr/>
        </p:nvSpPr>
        <p:spPr>
          <a:xfrm>
            <a:off x="2527316" y="1964557"/>
            <a:ext cx="2194400" cy="860783"/>
          </a:xfrm>
          <a:custGeom>
            <a:avLst/>
            <a:gdLst>
              <a:gd name="connsiteX0" fmla="*/ 0 w 2194400"/>
              <a:gd name="connsiteY0" fmla="*/ 172 h 860783"/>
              <a:gd name="connsiteX1" fmla="*/ 1909483 w 2194400"/>
              <a:gd name="connsiteY1" fmla="*/ 40513 h 860783"/>
              <a:gd name="connsiteX2" fmla="*/ 1909483 w 2194400"/>
              <a:gd name="connsiteY2" fmla="*/ 40513 h 860783"/>
              <a:gd name="connsiteX3" fmla="*/ 2164977 w 2194400"/>
              <a:gd name="connsiteY3" fmla="*/ 67407 h 860783"/>
              <a:gd name="connsiteX4" fmla="*/ 2178424 w 2194400"/>
              <a:gd name="connsiteY4" fmla="*/ 860783 h 860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400" h="860783">
                <a:moveTo>
                  <a:pt x="0" y="172"/>
                </a:moveTo>
                <a:lnTo>
                  <a:pt x="1909483" y="40513"/>
                </a:lnTo>
                <a:lnTo>
                  <a:pt x="1909483" y="40513"/>
                </a:lnTo>
                <a:cubicBezTo>
                  <a:pt x="1952065" y="44995"/>
                  <a:pt x="2120153" y="-69305"/>
                  <a:pt x="2164977" y="67407"/>
                </a:cubicBezTo>
                <a:cubicBezTo>
                  <a:pt x="2209801" y="204119"/>
                  <a:pt x="2194112" y="532451"/>
                  <a:pt x="2178424" y="860783"/>
                </a:cubicBezTo>
              </a:path>
            </a:pathLst>
          </a:custGeom>
          <a:noFill/>
          <a:ln>
            <a:solidFill>
              <a:srgbClr val="00206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0F6979C-5254-472D-B410-A68894F9ECB1}"/>
              </a:ext>
            </a:extLst>
          </p:cNvPr>
          <p:cNvSpPr txBox="1"/>
          <p:nvPr/>
        </p:nvSpPr>
        <p:spPr>
          <a:xfrm>
            <a:off x="530909" y="1649614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UL 1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F0A2AB4-8A3D-4DEB-BE59-3B71EFC7E641}"/>
              </a:ext>
            </a:extLst>
          </p:cNvPr>
          <p:cNvSpPr txBox="1"/>
          <p:nvPr/>
        </p:nvSpPr>
        <p:spPr>
          <a:xfrm>
            <a:off x="2119813" y="1719280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C00000"/>
                </a:solidFill>
              </a:rPr>
              <a:t>UL 2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92073B1-6418-4D29-A778-118F649F3316}"/>
              </a:ext>
            </a:extLst>
          </p:cNvPr>
          <p:cNvSpPr txBox="1"/>
          <p:nvPr/>
        </p:nvSpPr>
        <p:spPr>
          <a:xfrm>
            <a:off x="4941691" y="2140605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UL 3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9431A58-E54E-4F6A-BDE2-175553272FF6}"/>
              </a:ext>
            </a:extLst>
          </p:cNvPr>
          <p:cNvSpPr/>
          <p:nvPr/>
        </p:nvSpPr>
        <p:spPr>
          <a:xfrm>
            <a:off x="2231481" y="2166435"/>
            <a:ext cx="2030506" cy="658905"/>
          </a:xfrm>
          <a:custGeom>
            <a:avLst/>
            <a:gdLst>
              <a:gd name="connsiteX0" fmla="*/ 2030506 w 2030506"/>
              <a:gd name="connsiteY0" fmla="*/ 658905 h 658905"/>
              <a:gd name="connsiteX1" fmla="*/ 2030506 w 2030506"/>
              <a:gd name="connsiteY1" fmla="*/ 40341 h 658905"/>
              <a:gd name="connsiteX2" fmla="*/ 2030506 w 2030506"/>
              <a:gd name="connsiteY2" fmla="*/ 40341 h 658905"/>
              <a:gd name="connsiteX3" fmla="*/ 0 w 2030506"/>
              <a:gd name="connsiteY3" fmla="*/ 0 h 658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30506" h="658905">
                <a:moveTo>
                  <a:pt x="2030506" y="658905"/>
                </a:moveTo>
                <a:lnTo>
                  <a:pt x="2030506" y="40341"/>
                </a:lnTo>
                <a:lnTo>
                  <a:pt x="2030506" y="40341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7863E3E-FD01-4729-A998-D593916A599C}"/>
              </a:ext>
            </a:extLst>
          </p:cNvPr>
          <p:cNvSpPr txBox="1"/>
          <p:nvPr/>
        </p:nvSpPr>
        <p:spPr>
          <a:xfrm>
            <a:off x="3722175" y="2254072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DL 1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A7A452A-58BE-46B5-9535-0709BF920D24}"/>
              </a:ext>
            </a:extLst>
          </p:cNvPr>
          <p:cNvSpPr txBox="1"/>
          <p:nvPr/>
        </p:nvSpPr>
        <p:spPr>
          <a:xfrm>
            <a:off x="2376383" y="2452299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C00000"/>
                </a:solidFill>
              </a:rPr>
              <a:t>DL 2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0C33E8CB-7958-417A-8873-825469DD7740}"/>
              </a:ext>
            </a:extLst>
          </p:cNvPr>
          <p:cNvSpPr/>
          <p:nvPr/>
        </p:nvSpPr>
        <p:spPr>
          <a:xfrm>
            <a:off x="2204587" y="2179882"/>
            <a:ext cx="13447" cy="685800"/>
          </a:xfrm>
          <a:custGeom>
            <a:avLst/>
            <a:gdLst>
              <a:gd name="connsiteX0" fmla="*/ 13447 w 13447"/>
              <a:gd name="connsiteY0" fmla="*/ 0 h 685800"/>
              <a:gd name="connsiteX1" fmla="*/ 0 w 13447"/>
              <a:gd name="connsiteY1" fmla="*/ 685800 h 685800"/>
              <a:gd name="connsiteX2" fmla="*/ 0 w 13447"/>
              <a:gd name="connsiteY2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47" h="685800">
                <a:moveTo>
                  <a:pt x="13447" y="0"/>
                </a:moveTo>
                <a:lnTo>
                  <a:pt x="0" y="685800"/>
                </a:lnTo>
                <a:lnTo>
                  <a:pt x="0" y="685800"/>
                </a:lnTo>
              </a:path>
            </a:pathLst>
          </a:custGeom>
          <a:noFill/>
          <a:ln>
            <a:solidFill>
              <a:srgbClr val="C0000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A768504D-B4F1-4753-B1D0-EB3CDBFBA038}"/>
              </a:ext>
            </a:extLst>
          </p:cNvPr>
          <p:cNvSpPr/>
          <p:nvPr/>
        </p:nvSpPr>
        <p:spPr>
          <a:xfrm>
            <a:off x="617834" y="2112646"/>
            <a:ext cx="1089212" cy="793377"/>
          </a:xfrm>
          <a:custGeom>
            <a:avLst/>
            <a:gdLst>
              <a:gd name="connsiteX0" fmla="*/ 1089212 w 1089212"/>
              <a:gd name="connsiteY0" fmla="*/ 793377 h 793377"/>
              <a:gd name="connsiteX1" fmla="*/ 1075765 w 1089212"/>
              <a:gd name="connsiteY1" fmla="*/ 0 h 793377"/>
              <a:gd name="connsiteX2" fmla="*/ 1075765 w 1089212"/>
              <a:gd name="connsiteY2" fmla="*/ 0 h 793377"/>
              <a:gd name="connsiteX3" fmla="*/ 0 w 1089212"/>
              <a:gd name="connsiteY3" fmla="*/ 26894 h 793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9212" h="793377">
                <a:moveTo>
                  <a:pt x="1089212" y="793377"/>
                </a:moveTo>
                <a:lnTo>
                  <a:pt x="1075765" y="0"/>
                </a:lnTo>
                <a:lnTo>
                  <a:pt x="1075765" y="0"/>
                </a:lnTo>
                <a:lnTo>
                  <a:pt x="0" y="26894"/>
                </a:lnTo>
              </a:path>
            </a:pathLst>
          </a:custGeom>
          <a:noFill/>
          <a:ln>
            <a:solidFill>
              <a:schemeClr val="tx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AFA4A38-9D34-4FBF-8F41-C26B874D1C4F}"/>
              </a:ext>
            </a:extLst>
          </p:cNvPr>
          <p:cNvSpPr txBox="1"/>
          <p:nvPr/>
        </p:nvSpPr>
        <p:spPr>
          <a:xfrm>
            <a:off x="847980" y="2229271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DL 3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AA7F833-DC6C-68C4-2EAA-9CB43BEF6333}"/>
              </a:ext>
            </a:extLst>
          </p:cNvPr>
          <p:cNvSpPr txBox="1">
            <a:spLocks/>
          </p:cNvSpPr>
          <p:nvPr/>
        </p:nvSpPr>
        <p:spPr>
          <a:xfrm>
            <a:off x="5349030" y="1154611"/>
            <a:ext cx="3772817" cy="375357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4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626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930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234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382400" indent="-228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12800" indent="-17145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43200" indent="-17145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5050102010706020507" pitchFamily="18" charset="2"/>
              <a:buChar char="•"/>
            </a:pPr>
            <a:r>
              <a:rPr lang="en-GB" sz="1400" u="sng" dirty="0"/>
              <a:t>UL DNS request from UE to HDNS server</a:t>
            </a:r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/>
              <a:t>.UL1 from UE to EASDF: per existing specs</a:t>
            </a:r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>
                <a:solidFill>
                  <a:srgbClr val="C00000"/>
                </a:solidFill>
              </a:rPr>
              <a:t>UL 2 from V-EASDF to the N9 tunnel of the PDU Session: V-EASDF needs to tunnel the DNS request to the V-UPF and V-UPF controlled by V-SMF to inject traffic from this tunnel to the N9 tunnel of the PDU Session</a:t>
            </a:r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/>
              <a:t>UL3 Then traffic handled per existing specs</a:t>
            </a:r>
          </a:p>
          <a:p>
            <a:pPr lvl="1">
              <a:buFont typeface="Arial" panose="05050102010706020507" pitchFamily="18" charset="2"/>
              <a:buChar char="•"/>
            </a:pPr>
            <a:endParaRPr lang="en-GB" sz="1200" dirty="0"/>
          </a:p>
          <a:p>
            <a:pPr lvl="1">
              <a:buFont typeface="Arial" panose="05050102010706020507" pitchFamily="18" charset="2"/>
              <a:buChar char="•"/>
            </a:pPr>
            <a:endParaRPr lang="en-GB" sz="1200" dirty="0"/>
          </a:p>
          <a:p>
            <a:pPr>
              <a:buFont typeface="Arial" panose="05050102010706020507" pitchFamily="18" charset="2"/>
              <a:buChar char="•"/>
            </a:pPr>
            <a:r>
              <a:rPr lang="en-GB" sz="1400" u="sng" dirty="0"/>
              <a:t>DL DNS response from HDNS server to UE</a:t>
            </a:r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/>
              <a:t>DL1: from HDNS server to VUPF : per existing specs</a:t>
            </a:r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/>
              <a:t>DL2: </a:t>
            </a:r>
            <a:r>
              <a:rPr lang="en-GB" sz="1200" dirty="0">
                <a:solidFill>
                  <a:srgbClr val="C00000"/>
                </a:solidFill>
              </a:rPr>
              <a:t>from the N9 tunnel of the PDU Session to V--EASDF : V-UPF needs to tunnel the DNS response to the V-EASDF (V-UPF controlled by V-SMF)</a:t>
            </a:r>
            <a:endParaRPr lang="en-GB" sz="1200" dirty="0"/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/>
              <a:t>DL3 Then traffic handled per existing specs</a:t>
            </a:r>
          </a:p>
          <a:p>
            <a:pPr lvl="1">
              <a:buFont typeface="Arial" panose="05050102010706020507" pitchFamily="18" charset="2"/>
              <a:buChar char="•"/>
            </a:pPr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>
              <a:buFont typeface="Arial" panose="05050102010706020507" pitchFamily="18" charset="2"/>
              <a:buChar char="•"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9057947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5F6DD9-9F73-4475-B4C0-0BD35C69E4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435600"/>
            <a:ext cx="8308800" cy="309600"/>
          </a:xfrm>
        </p:spPr>
        <p:txBody>
          <a:bodyPr lIns="0" tIns="0" rIns="0" bIns="0" anchor="t"/>
          <a:lstStyle/>
          <a:p>
            <a:r>
              <a:rPr lang="en-GB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olution: </a:t>
            </a:r>
            <a:r>
              <a:rPr lang="en-GB" sz="1600" dirty="0">
                <a:ea typeface="+mn-lt"/>
                <a:cs typeface="+mn-lt"/>
              </a:rPr>
              <a:t>traffic to be tunnelled on the N9 tunnel of the PDU Session </a:t>
            </a:r>
            <a:r>
              <a:rPr lang="en-GB" sz="1600" dirty="0">
                <a:ea typeface="+mn-lt"/>
                <a:cs typeface="+mn-lt"/>
                <a:sym typeface="Wingdings" panose="05000000000000000000" pitchFamily="2" charset="2"/>
              </a:rPr>
              <a:t> </a:t>
            </a:r>
            <a:r>
              <a:rPr lang="en-GB" sz="1600" dirty="0">
                <a:ea typeface="+mn-lt"/>
                <a:cs typeface="+mn-lt"/>
              </a:rPr>
              <a:t>No Change to HPLMN</a:t>
            </a:r>
            <a:endParaRPr lang="en-GB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6A8607-C5AE-48A7-9AC8-7B6F426DD1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26000"/>
            <a:ext cx="8726400" cy="309600"/>
          </a:xfrm>
        </p:spPr>
        <p:txBody>
          <a:bodyPr lIns="0" tIns="0" rIns="0" bIns="0" anchor="t"/>
          <a:lstStyle/>
          <a:p>
            <a:r>
              <a:rPr lang="de-DE" dirty="0" err="1"/>
              <a:t>Rel</a:t>
            </a:r>
            <a:r>
              <a:rPr lang="de-DE" dirty="0"/>
              <a:t> 18 </a:t>
            </a:r>
            <a:r>
              <a:rPr lang="de-DE" sz="1800" dirty="0"/>
              <a:t>„</a:t>
            </a:r>
            <a:r>
              <a:rPr lang="en-GB" sz="1800" dirty="0">
                <a:effectLst/>
                <a:latin typeface="Arial"/>
                <a:ea typeface="Times New Roman" panose="02020603050405020304" pitchFamily="18" charset="0"/>
                <a:cs typeface="Arial"/>
              </a:rPr>
              <a:t>Enhancement of support for Edge Computing in 5GC- phase 2” / HR-SBO</a:t>
            </a:r>
            <a:endParaRPr lang="fr-FR" sz="1800" dirty="0">
              <a:effectLst/>
              <a:latin typeface="Arial"/>
              <a:ea typeface="Arial" panose="020B0604020202020204" pitchFamily="34" charset="0"/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72C33D-DF40-4601-AF02-8DFD5A6EA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6377" y="945225"/>
            <a:ext cx="5033139" cy="418773"/>
          </a:xfrm>
        </p:spPr>
        <p:txBody>
          <a:bodyPr lIns="0" tIns="0" rIns="0" bIns="0" anchor="t">
            <a:normAutofit/>
          </a:bodyPr>
          <a:lstStyle/>
          <a:p>
            <a:pPr>
              <a:buFont typeface="Arial" panose="05050102010706020507" pitchFamily="18" charset="2"/>
              <a:buChar char="•"/>
            </a:pPr>
            <a:r>
              <a:rPr lang="en-GB" sz="1400" dirty="0">
                <a:ea typeface="+mn-lt"/>
                <a:cs typeface="+mn-lt"/>
              </a:rPr>
              <a:t>V-SMF to control </a:t>
            </a:r>
            <a:r>
              <a:rPr lang="en-GB" sz="1400" dirty="0">
                <a:solidFill>
                  <a:srgbClr val="C00000"/>
                </a:solidFill>
                <a:ea typeface="+mn-lt"/>
                <a:cs typeface="+mn-lt"/>
              </a:rPr>
              <a:t>tunnelling between V-EASDF and V-UPF</a:t>
            </a:r>
            <a:endParaRPr lang="en-GB" sz="1400" dirty="0">
              <a:solidFill>
                <a:srgbClr val="C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4725B4-DA0A-4B86-A4F2-23ADC3F30502}"/>
              </a:ext>
            </a:extLst>
          </p:cNvPr>
          <p:cNvSpPr txBox="1"/>
          <p:nvPr/>
        </p:nvSpPr>
        <p:spPr>
          <a:xfrm>
            <a:off x="1622272" y="1749575"/>
            <a:ext cx="685800" cy="49084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V-UPF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D10607-B484-4BFB-9F9E-4FCC5E8FF209}"/>
              </a:ext>
            </a:extLst>
          </p:cNvPr>
          <p:cNvSpPr txBox="1"/>
          <p:nvPr/>
        </p:nvSpPr>
        <p:spPr>
          <a:xfrm>
            <a:off x="1622272" y="2859216"/>
            <a:ext cx="685800" cy="490843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7030A0"/>
                </a:solidFill>
              </a:rPr>
              <a:t>V-EASDF</a:t>
            </a:r>
            <a:endParaRPr lang="en-US" sz="1200" dirty="0">
              <a:solidFill>
                <a:srgbClr val="7030A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D83A3D-D5E3-4DCC-B6D4-4743BC073E4B}"/>
              </a:ext>
            </a:extLst>
          </p:cNvPr>
          <p:cNvSpPr txBox="1"/>
          <p:nvPr/>
        </p:nvSpPr>
        <p:spPr>
          <a:xfrm>
            <a:off x="4174581" y="1749575"/>
            <a:ext cx="685800" cy="49084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endParaRPr lang="fr-FR" sz="1200" dirty="0">
              <a:solidFill>
                <a:schemeClr val="tx2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H-UPF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0DA980-EBE7-4A9B-B524-50818E845235}"/>
              </a:ext>
            </a:extLst>
          </p:cNvPr>
          <p:cNvSpPr txBox="1"/>
          <p:nvPr/>
        </p:nvSpPr>
        <p:spPr>
          <a:xfrm>
            <a:off x="4174581" y="2859216"/>
            <a:ext cx="685800" cy="49084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00B050"/>
                </a:solidFill>
              </a:rPr>
              <a:t>H DNS server</a:t>
            </a:r>
            <a:endParaRPr lang="en-US" sz="1200" dirty="0">
              <a:solidFill>
                <a:srgbClr val="00B050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928555F-4051-43FA-ACDC-3D95537B26C7}"/>
              </a:ext>
            </a:extLst>
          </p:cNvPr>
          <p:cNvCxnSpPr>
            <a:endCxn id="5" idx="1"/>
          </p:cNvCxnSpPr>
          <p:nvPr/>
        </p:nvCxnSpPr>
        <p:spPr>
          <a:xfrm>
            <a:off x="685069" y="1978175"/>
            <a:ext cx="937203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3C92B70-F163-469C-ABB5-EBE2BE42BB36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2308072" y="1978175"/>
            <a:ext cx="1866509" cy="16822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1C6DD6F-1C7C-47C8-983B-156F5938B910}"/>
              </a:ext>
            </a:extLst>
          </p:cNvPr>
          <p:cNvCxnSpPr>
            <a:cxnSpLocks/>
          </p:cNvCxnSpPr>
          <p:nvPr/>
        </p:nvCxnSpPr>
        <p:spPr>
          <a:xfrm>
            <a:off x="4513323" y="2240418"/>
            <a:ext cx="0" cy="618798"/>
          </a:xfrm>
          <a:prstGeom prst="line">
            <a:avLst/>
          </a:prstGeom>
          <a:ln w="31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3D2619-AD3E-4EFC-97B3-B905F9984462}"/>
              </a:ext>
            </a:extLst>
          </p:cNvPr>
          <p:cNvCxnSpPr>
            <a:cxnSpLocks/>
          </p:cNvCxnSpPr>
          <p:nvPr/>
        </p:nvCxnSpPr>
        <p:spPr>
          <a:xfrm>
            <a:off x="1965172" y="2221368"/>
            <a:ext cx="0" cy="618798"/>
          </a:xfrm>
          <a:prstGeom prst="line">
            <a:avLst/>
          </a:prstGeom>
          <a:ln w="31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29119EF-EAF7-4459-A6CF-AF8392FD27A6}"/>
              </a:ext>
            </a:extLst>
          </p:cNvPr>
          <p:cNvSpPr txBox="1"/>
          <p:nvPr/>
        </p:nvSpPr>
        <p:spPr>
          <a:xfrm>
            <a:off x="0" y="1804410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N3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C8F9A5C-B432-4C77-A594-ACD9B4502036}"/>
              </a:ext>
            </a:extLst>
          </p:cNvPr>
          <p:cNvSpPr txBox="1"/>
          <p:nvPr/>
        </p:nvSpPr>
        <p:spPr>
          <a:xfrm>
            <a:off x="3040206" y="1594778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N9</a:t>
            </a:r>
            <a:endParaRPr lang="en-US" sz="1200" dirty="0">
              <a:solidFill>
                <a:schemeClr val="tx2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6756737-2F73-40DD-9BA5-C997C9A8B34A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>
            <a:off x="2308072" y="3104638"/>
            <a:ext cx="1866509" cy="0"/>
          </a:xfrm>
          <a:prstGeom prst="straightConnector1">
            <a:avLst/>
          </a:prstGeom>
          <a:ln w="3175">
            <a:solidFill>
              <a:srgbClr val="C00000"/>
            </a:solidFill>
            <a:prstDash val="lgDash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E20B7512-A5DF-481E-8EED-7CD743624129}"/>
              </a:ext>
            </a:extLst>
          </p:cNvPr>
          <p:cNvSpPr/>
          <p:nvPr/>
        </p:nvSpPr>
        <p:spPr>
          <a:xfrm>
            <a:off x="1142270" y="2240418"/>
            <a:ext cx="1500076" cy="1405193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6EC32F0-73D9-4650-81E5-1D9E83C82284}"/>
              </a:ext>
            </a:extLst>
          </p:cNvPr>
          <p:cNvSpPr/>
          <p:nvPr/>
        </p:nvSpPr>
        <p:spPr>
          <a:xfrm>
            <a:off x="3767443" y="2240418"/>
            <a:ext cx="1500076" cy="140519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F01CB76-54E5-4D42-A61C-1BFBA69366B5}"/>
              </a:ext>
            </a:extLst>
          </p:cNvPr>
          <p:cNvSpPr txBox="1"/>
          <p:nvPr/>
        </p:nvSpPr>
        <p:spPr>
          <a:xfrm>
            <a:off x="2698824" y="3104637"/>
            <a:ext cx="1139964" cy="3128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Direct exchange not possible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8FB92D77-7FFD-495F-B304-F01A81FC3F06}"/>
              </a:ext>
            </a:extLst>
          </p:cNvPr>
          <p:cNvSpPr/>
          <p:nvPr/>
        </p:nvSpPr>
        <p:spPr>
          <a:xfrm>
            <a:off x="619872" y="1855059"/>
            <a:ext cx="1230269" cy="983371"/>
          </a:xfrm>
          <a:custGeom>
            <a:avLst/>
            <a:gdLst>
              <a:gd name="connsiteX0" fmla="*/ 0 w 1230269"/>
              <a:gd name="connsiteY0" fmla="*/ 95865 h 983371"/>
              <a:gd name="connsiteX1" fmla="*/ 1089212 w 1230269"/>
              <a:gd name="connsiteY1" fmla="*/ 82418 h 983371"/>
              <a:gd name="connsiteX2" fmla="*/ 1183341 w 1230269"/>
              <a:gd name="connsiteY2" fmla="*/ 983371 h 983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0269" h="983371">
                <a:moveTo>
                  <a:pt x="0" y="95865"/>
                </a:moveTo>
                <a:cubicBezTo>
                  <a:pt x="445994" y="15182"/>
                  <a:pt x="891989" y="-65500"/>
                  <a:pt x="1089212" y="82418"/>
                </a:cubicBezTo>
                <a:cubicBezTo>
                  <a:pt x="1286436" y="230336"/>
                  <a:pt x="1234888" y="606853"/>
                  <a:pt x="1183341" y="983371"/>
                </a:cubicBezTo>
              </a:path>
            </a:pathLst>
          </a:custGeom>
          <a:noFill/>
          <a:ln>
            <a:solidFill>
              <a:schemeClr val="tx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02FB70C-B4FA-459B-96FA-DEB380BE6D56}"/>
              </a:ext>
            </a:extLst>
          </p:cNvPr>
          <p:cNvSpPr/>
          <p:nvPr/>
        </p:nvSpPr>
        <p:spPr>
          <a:xfrm>
            <a:off x="2111878" y="1919876"/>
            <a:ext cx="334756" cy="1039935"/>
          </a:xfrm>
          <a:custGeom>
            <a:avLst/>
            <a:gdLst>
              <a:gd name="connsiteX0" fmla="*/ 12026 w 334756"/>
              <a:gd name="connsiteY0" fmla="*/ 1039935 h 1039935"/>
              <a:gd name="connsiteX1" fmla="*/ 38921 w 334756"/>
              <a:gd name="connsiteY1" fmla="*/ 125535 h 1039935"/>
              <a:gd name="connsiteX2" fmla="*/ 334756 w 334756"/>
              <a:gd name="connsiteY2" fmla="*/ 31406 h 103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4756" h="1039935">
                <a:moveTo>
                  <a:pt x="12026" y="1039935"/>
                </a:moveTo>
                <a:cubicBezTo>
                  <a:pt x="-1421" y="666779"/>
                  <a:pt x="-14867" y="293623"/>
                  <a:pt x="38921" y="125535"/>
                </a:cubicBezTo>
                <a:cubicBezTo>
                  <a:pt x="92709" y="-42553"/>
                  <a:pt x="213732" y="-5574"/>
                  <a:pt x="334756" y="31406"/>
                </a:cubicBezTo>
              </a:path>
            </a:pathLst>
          </a:custGeom>
          <a:noFill/>
          <a:ln>
            <a:solidFill>
              <a:srgbClr val="C0000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C6ACBC5-0981-4256-836F-A8B6E9C2C481}"/>
              </a:ext>
            </a:extLst>
          </p:cNvPr>
          <p:cNvSpPr/>
          <p:nvPr/>
        </p:nvSpPr>
        <p:spPr>
          <a:xfrm>
            <a:off x="2527316" y="1964557"/>
            <a:ext cx="2194400" cy="860783"/>
          </a:xfrm>
          <a:custGeom>
            <a:avLst/>
            <a:gdLst>
              <a:gd name="connsiteX0" fmla="*/ 0 w 2194400"/>
              <a:gd name="connsiteY0" fmla="*/ 172 h 860783"/>
              <a:gd name="connsiteX1" fmla="*/ 1909483 w 2194400"/>
              <a:gd name="connsiteY1" fmla="*/ 40513 h 860783"/>
              <a:gd name="connsiteX2" fmla="*/ 1909483 w 2194400"/>
              <a:gd name="connsiteY2" fmla="*/ 40513 h 860783"/>
              <a:gd name="connsiteX3" fmla="*/ 2164977 w 2194400"/>
              <a:gd name="connsiteY3" fmla="*/ 67407 h 860783"/>
              <a:gd name="connsiteX4" fmla="*/ 2178424 w 2194400"/>
              <a:gd name="connsiteY4" fmla="*/ 860783 h 860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400" h="860783">
                <a:moveTo>
                  <a:pt x="0" y="172"/>
                </a:moveTo>
                <a:lnTo>
                  <a:pt x="1909483" y="40513"/>
                </a:lnTo>
                <a:lnTo>
                  <a:pt x="1909483" y="40513"/>
                </a:lnTo>
                <a:cubicBezTo>
                  <a:pt x="1952065" y="44995"/>
                  <a:pt x="2120153" y="-69305"/>
                  <a:pt x="2164977" y="67407"/>
                </a:cubicBezTo>
                <a:cubicBezTo>
                  <a:pt x="2209801" y="204119"/>
                  <a:pt x="2194112" y="532451"/>
                  <a:pt x="2178424" y="860783"/>
                </a:cubicBezTo>
              </a:path>
            </a:pathLst>
          </a:custGeom>
          <a:noFill/>
          <a:ln>
            <a:solidFill>
              <a:srgbClr val="00206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0F6979C-5254-472D-B410-A68894F9ECB1}"/>
              </a:ext>
            </a:extLst>
          </p:cNvPr>
          <p:cNvSpPr txBox="1"/>
          <p:nvPr/>
        </p:nvSpPr>
        <p:spPr>
          <a:xfrm>
            <a:off x="530909" y="1649614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UL 1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F0A2AB4-8A3D-4DEB-BE59-3B71EFC7E641}"/>
              </a:ext>
            </a:extLst>
          </p:cNvPr>
          <p:cNvSpPr txBox="1"/>
          <p:nvPr/>
        </p:nvSpPr>
        <p:spPr>
          <a:xfrm>
            <a:off x="2119813" y="1719280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C00000"/>
                </a:solidFill>
              </a:rPr>
              <a:t>UL 2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92073B1-6418-4D29-A778-118F649F3316}"/>
              </a:ext>
            </a:extLst>
          </p:cNvPr>
          <p:cNvSpPr txBox="1"/>
          <p:nvPr/>
        </p:nvSpPr>
        <p:spPr>
          <a:xfrm>
            <a:off x="4941691" y="2140605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UL 3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9431A58-E54E-4F6A-BDE2-175553272FF6}"/>
              </a:ext>
            </a:extLst>
          </p:cNvPr>
          <p:cNvSpPr/>
          <p:nvPr/>
        </p:nvSpPr>
        <p:spPr>
          <a:xfrm>
            <a:off x="2231481" y="2166435"/>
            <a:ext cx="2030506" cy="658905"/>
          </a:xfrm>
          <a:custGeom>
            <a:avLst/>
            <a:gdLst>
              <a:gd name="connsiteX0" fmla="*/ 2030506 w 2030506"/>
              <a:gd name="connsiteY0" fmla="*/ 658905 h 658905"/>
              <a:gd name="connsiteX1" fmla="*/ 2030506 w 2030506"/>
              <a:gd name="connsiteY1" fmla="*/ 40341 h 658905"/>
              <a:gd name="connsiteX2" fmla="*/ 2030506 w 2030506"/>
              <a:gd name="connsiteY2" fmla="*/ 40341 h 658905"/>
              <a:gd name="connsiteX3" fmla="*/ 0 w 2030506"/>
              <a:gd name="connsiteY3" fmla="*/ 0 h 658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30506" h="658905">
                <a:moveTo>
                  <a:pt x="2030506" y="658905"/>
                </a:moveTo>
                <a:lnTo>
                  <a:pt x="2030506" y="40341"/>
                </a:lnTo>
                <a:lnTo>
                  <a:pt x="2030506" y="40341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7863E3E-FD01-4729-A998-D593916A599C}"/>
              </a:ext>
            </a:extLst>
          </p:cNvPr>
          <p:cNvSpPr txBox="1"/>
          <p:nvPr/>
        </p:nvSpPr>
        <p:spPr>
          <a:xfrm>
            <a:off x="3722175" y="2254072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DL 1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A7A452A-58BE-46B5-9535-0709BF920D24}"/>
              </a:ext>
            </a:extLst>
          </p:cNvPr>
          <p:cNvSpPr txBox="1"/>
          <p:nvPr/>
        </p:nvSpPr>
        <p:spPr>
          <a:xfrm>
            <a:off x="2376383" y="2452299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rgbClr val="C00000"/>
                </a:solidFill>
              </a:rPr>
              <a:t>DL 2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0C33E8CB-7958-417A-8873-825469DD7740}"/>
              </a:ext>
            </a:extLst>
          </p:cNvPr>
          <p:cNvSpPr/>
          <p:nvPr/>
        </p:nvSpPr>
        <p:spPr>
          <a:xfrm>
            <a:off x="2204587" y="2179882"/>
            <a:ext cx="13447" cy="685800"/>
          </a:xfrm>
          <a:custGeom>
            <a:avLst/>
            <a:gdLst>
              <a:gd name="connsiteX0" fmla="*/ 13447 w 13447"/>
              <a:gd name="connsiteY0" fmla="*/ 0 h 685800"/>
              <a:gd name="connsiteX1" fmla="*/ 0 w 13447"/>
              <a:gd name="connsiteY1" fmla="*/ 685800 h 685800"/>
              <a:gd name="connsiteX2" fmla="*/ 0 w 13447"/>
              <a:gd name="connsiteY2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47" h="685800">
                <a:moveTo>
                  <a:pt x="13447" y="0"/>
                </a:moveTo>
                <a:lnTo>
                  <a:pt x="0" y="685800"/>
                </a:lnTo>
                <a:lnTo>
                  <a:pt x="0" y="685800"/>
                </a:lnTo>
              </a:path>
            </a:pathLst>
          </a:custGeom>
          <a:noFill/>
          <a:ln>
            <a:solidFill>
              <a:srgbClr val="C0000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A768504D-B4F1-4753-B1D0-EB3CDBFBA038}"/>
              </a:ext>
            </a:extLst>
          </p:cNvPr>
          <p:cNvSpPr/>
          <p:nvPr/>
        </p:nvSpPr>
        <p:spPr>
          <a:xfrm>
            <a:off x="617834" y="2112646"/>
            <a:ext cx="1089212" cy="793377"/>
          </a:xfrm>
          <a:custGeom>
            <a:avLst/>
            <a:gdLst>
              <a:gd name="connsiteX0" fmla="*/ 1089212 w 1089212"/>
              <a:gd name="connsiteY0" fmla="*/ 793377 h 793377"/>
              <a:gd name="connsiteX1" fmla="*/ 1075765 w 1089212"/>
              <a:gd name="connsiteY1" fmla="*/ 0 h 793377"/>
              <a:gd name="connsiteX2" fmla="*/ 1075765 w 1089212"/>
              <a:gd name="connsiteY2" fmla="*/ 0 h 793377"/>
              <a:gd name="connsiteX3" fmla="*/ 0 w 1089212"/>
              <a:gd name="connsiteY3" fmla="*/ 26894 h 793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9212" h="793377">
                <a:moveTo>
                  <a:pt x="1089212" y="793377"/>
                </a:moveTo>
                <a:lnTo>
                  <a:pt x="1075765" y="0"/>
                </a:lnTo>
                <a:lnTo>
                  <a:pt x="1075765" y="0"/>
                </a:lnTo>
                <a:lnTo>
                  <a:pt x="0" y="26894"/>
                </a:lnTo>
              </a:path>
            </a:pathLst>
          </a:custGeom>
          <a:noFill/>
          <a:ln>
            <a:solidFill>
              <a:schemeClr val="tx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AFA4A38-9D34-4FBF-8F41-C26B874D1C4F}"/>
              </a:ext>
            </a:extLst>
          </p:cNvPr>
          <p:cNvSpPr txBox="1"/>
          <p:nvPr/>
        </p:nvSpPr>
        <p:spPr>
          <a:xfrm>
            <a:off x="847980" y="2229271"/>
            <a:ext cx="457200" cy="3095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fr-FR" sz="1200" dirty="0">
                <a:solidFill>
                  <a:schemeClr val="tx2"/>
                </a:solidFill>
              </a:rPr>
              <a:t>DL 3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AA7F833-DC6C-68C4-2EAA-9CB43BEF6333}"/>
              </a:ext>
            </a:extLst>
          </p:cNvPr>
          <p:cNvSpPr txBox="1">
            <a:spLocks/>
          </p:cNvSpPr>
          <p:nvPr/>
        </p:nvSpPr>
        <p:spPr>
          <a:xfrm>
            <a:off x="5352037" y="854519"/>
            <a:ext cx="3772817" cy="375357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4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626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930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234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382400" indent="-228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12800" indent="-17145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43200" indent="-17145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Arial" panose="05050102010706020507" pitchFamily="18" charset="2"/>
              <a:buChar char="•"/>
            </a:pPr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>
              <a:buFont typeface="Arial" panose="05050102010706020507" pitchFamily="18" charset="2"/>
              <a:buChar char="•"/>
            </a:pPr>
            <a:endParaRPr lang="en-GB" sz="140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D26DD721-E389-CA29-D55D-F31100592A84}"/>
              </a:ext>
            </a:extLst>
          </p:cNvPr>
          <p:cNvSpPr txBox="1">
            <a:spLocks/>
          </p:cNvSpPr>
          <p:nvPr/>
        </p:nvSpPr>
        <p:spPr>
          <a:xfrm>
            <a:off x="5443806" y="963838"/>
            <a:ext cx="3772817" cy="375357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4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626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930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2340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382400" indent="-228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12800" indent="-17145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43200" indent="-17145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5050102010706020507" pitchFamily="18" charset="2"/>
              <a:buChar char="•"/>
            </a:pPr>
            <a:r>
              <a:rPr lang="en-GB" sz="1400" u="sng" dirty="0"/>
              <a:t>V-SMF for UL DNs traffic </a:t>
            </a:r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/>
              <a:t>Gets (UL) Tunnel termination from V-UPF (per UE)</a:t>
            </a:r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/>
              <a:t>Controls V-EASDF to send DNS requests not matching  other DNS message detection rules towards HDNS server over the tunnel to V-UPF</a:t>
            </a:r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/>
              <a:t>V-UPF controlled by VSMF to forward over N9 UL traffic received in the per UE tunnel (from V-EASDF)</a:t>
            </a:r>
          </a:p>
          <a:p>
            <a:pPr lvl="1">
              <a:buFont typeface="Arial" panose="05050102010706020507" pitchFamily="18" charset="2"/>
              <a:buChar char="•"/>
            </a:pPr>
            <a:endParaRPr lang="en-GB" sz="1200" dirty="0"/>
          </a:p>
          <a:p>
            <a:pPr>
              <a:buFont typeface="Arial" panose="05050102010706020507" pitchFamily="18" charset="2"/>
              <a:buChar char="•"/>
            </a:pPr>
            <a:r>
              <a:rPr lang="en-GB" sz="1400" u="sng" dirty="0"/>
              <a:t>V-SMF for DL DNs traffic </a:t>
            </a:r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/>
              <a:t>Gets (DL) Tunnel termination from V-EASDF </a:t>
            </a:r>
          </a:p>
          <a:p>
            <a:pPr lvl="1">
              <a:buFont typeface="Arial" panose="05050102010706020507" pitchFamily="18" charset="2"/>
              <a:buChar char="•"/>
            </a:pPr>
            <a:r>
              <a:rPr lang="en-GB" sz="1200" dirty="0"/>
              <a:t>controls V-UPF to forward DL traffic received over N9 from HDNS Server in the tunnel to V-EASDF</a:t>
            </a:r>
          </a:p>
          <a:p>
            <a:pPr lvl="1">
              <a:buFont typeface="Arial" panose="05050102010706020507" pitchFamily="18" charset="2"/>
              <a:buChar char="•"/>
            </a:pPr>
            <a:endParaRPr lang="en-GB" sz="1200" dirty="0"/>
          </a:p>
          <a:p>
            <a:pPr lvl="1">
              <a:buFont typeface="Arial" panose="05050102010706020507" pitchFamily="18" charset="2"/>
              <a:buChar char="•"/>
            </a:pPr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>
              <a:buFont typeface="Arial" panose="05050102010706020507" pitchFamily="18" charset="2"/>
              <a:buChar char="•"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9569750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146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- Pure PowerPoint template 2020" id="{398CCF39-82F8-4430-874D-A7ABDF478168}" vid="{26BD96F5-6FAD-47ED-B1DD-68C919324086}"/>
    </a:ext>
  </a:extLst>
</a:theme>
</file>

<file path=ppt/theme/theme10.xml><?xml version="1.0" encoding="utf-8"?>
<a:theme xmlns:a="http://schemas.openxmlformats.org/drawingml/2006/main" name="21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resentation toolkit_Pure 2019" id="{99B5A2AB-6EBC-42FA-8959-8ECD5304F73D}" vid="{18300C06-1E8D-41D8-BCAF-64903024DD50}"/>
    </a:ext>
  </a:extLst>
</a:theme>
</file>

<file path=ppt/theme/theme11.xml><?xml version="1.0" encoding="utf-8"?>
<a:theme xmlns:a="http://schemas.openxmlformats.org/drawingml/2006/main" name="22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resentation toolkit_Pure 2019" id="{99B5A2AB-6EBC-42FA-8959-8ECD5304F73D}" vid="{18300C06-1E8D-41D8-BCAF-64903024DD50}"/>
    </a:ext>
  </a:extLst>
</a:theme>
</file>

<file path=ppt/theme/theme12.xml><?xml version="1.0" encoding="utf-8"?>
<a:theme xmlns:a="http://schemas.openxmlformats.org/drawingml/2006/main" name="19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resentation toolkit_Pure 2019" id="{99B5A2AB-6EBC-42FA-8959-8ECD5304F73D}" vid="{18300C06-1E8D-41D8-BCAF-64903024DD50}"/>
    </a:ext>
  </a:extLst>
</a:theme>
</file>

<file path=ppt/theme/theme13.xml><?xml version="1.0" encoding="utf-8"?>
<a:theme xmlns:a="http://schemas.openxmlformats.org/drawingml/2006/main" name="Nokia Master Whit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000" dirty="0">
            <a:solidFill>
              <a:schemeClr val="bg2"/>
            </a:solidFill>
            <a:latin typeface="+mn-lt"/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5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resentation toolkit_Pure 2019" id="{99B5A2AB-6EBC-42FA-8959-8ECD5304F73D}" vid="{18300C06-1E8D-41D8-BCAF-64903024DD50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Blue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 - Pure PowerPoint template 2020" id="{398CCF39-82F8-4430-874D-A7ABDF478168}" vid="{11527CF8-046B-4419-83ED-86931C0F8CAA}"/>
    </a:ext>
  </a:extLst>
</a:theme>
</file>

<file path=ppt/theme/theme3.xml><?xml version="1.0" encoding="utf-8"?>
<a:theme xmlns:a="http://schemas.openxmlformats.org/drawingml/2006/main" name="5_White End Slide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 - Pure PowerPoint template 2020" id="{398CCF39-82F8-4430-874D-A7ABDF478168}" vid="{4E3572A6-4AFE-4B5F-BB81-B4DA9BA30606}"/>
    </a:ext>
  </a:extLst>
</a:theme>
</file>

<file path=ppt/theme/theme4.xml><?xml version="1.0" encoding="utf-8"?>
<a:theme xmlns:a="http://schemas.openxmlformats.org/drawingml/2006/main" name="6_Gray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 - Pure PowerPoint template 2020" id="{398CCF39-82F8-4430-874D-A7ABDF478168}" vid="{14A143DD-B527-4C2D-BA8E-AF10CBE153CA}"/>
    </a:ext>
  </a:extLst>
</a:theme>
</file>

<file path=ppt/theme/theme5.xml><?xml version="1.0" encoding="utf-8"?>
<a:theme xmlns:a="http://schemas.openxmlformats.org/drawingml/2006/main" name="15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resentation toolkit_Pure 2019" id="{99B5A2AB-6EBC-42FA-8959-8ECD5304F73D}" vid="{18300C06-1E8D-41D8-BCAF-64903024DD50}"/>
    </a:ext>
  </a:extLst>
</a:theme>
</file>

<file path=ppt/theme/theme6.xml><?xml version="1.0" encoding="utf-8"?>
<a:theme xmlns:a="http://schemas.openxmlformats.org/drawingml/2006/main" name="16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resentation toolkit_Pure 2019" id="{99B5A2AB-6EBC-42FA-8959-8ECD5304F73D}" vid="{18300C06-1E8D-41D8-BCAF-64903024DD50}"/>
    </a:ext>
  </a:extLst>
</a:theme>
</file>

<file path=ppt/theme/theme7.xml><?xml version="1.0" encoding="utf-8"?>
<a:theme xmlns:a="http://schemas.openxmlformats.org/drawingml/2006/main" name="17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resentation toolkit_Pure 2019" id="{99B5A2AB-6EBC-42FA-8959-8ECD5304F73D}" vid="{18300C06-1E8D-41D8-BCAF-64903024DD50}"/>
    </a:ext>
  </a:extLst>
</a:theme>
</file>

<file path=ppt/theme/theme8.xml><?xml version="1.0" encoding="utf-8"?>
<a:theme xmlns:a="http://schemas.openxmlformats.org/drawingml/2006/main" name="18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resentation toolkit_Pure 2019" id="{99B5A2AB-6EBC-42FA-8959-8ECD5304F73D}" vid="{18300C06-1E8D-41D8-BCAF-64903024DD50}"/>
    </a:ext>
  </a:extLst>
</a:theme>
</file>

<file path=ppt/theme/theme9.xml><?xml version="1.0" encoding="utf-8"?>
<a:theme xmlns:a="http://schemas.openxmlformats.org/drawingml/2006/main" name="20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resentation toolkit_Pure 2019" id="{99B5A2AB-6EBC-42FA-8959-8ECD5304F73D}" vid="{18300C06-1E8D-41D8-BCAF-64903024DD5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ideFromDelve xmlns="71c5aaf6-e6ce-465b-b873-5148d2a4c105">false</HideFromDelve>
    <_dlc_DocId xmlns="71c5aaf6-e6ce-465b-b873-5148d2a4c105">5AIRPNAIUNRU-2028481721-8445</_dlc_DocId>
    <_dlc_DocIdUrl xmlns="71c5aaf6-e6ce-465b-b873-5148d2a4c105">
      <Url>https://nokia.sharepoint.com/sites/c5g/e2earch/_layouts/15/DocIdRedir.aspx?ID=5AIRPNAIUNRU-2028481721-8445</Url>
      <Description>5AIRPNAIUNRU-2028481721-8445</Description>
    </_dlc_DocIdUrl>
    <Information xmlns="3b34c8f0-1ef5-4d1e-bb66-517ce7fe7356" xsi:nil="true"/>
    <Associated_x0020_Task xmlns="3b34c8f0-1ef5-4d1e-bb66-517ce7fe7356" xsi:nil="true"/>
    <SharedWithUsers xmlns="a3840f4f-04be-43d1-b2ef-6ff1382503c7">
      <UserInfo>
        <DisplayName>Mion, Marcello (Nokia - IT/Vimercate)</DisplayName>
        <AccountId>30470</AccountId>
        <AccountType/>
      </UserInfo>
      <UserInfo>
        <DisplayName>Greijula, Sirkku (Nokia - FI/Tampere)</DisplayName>
        <AccountId>21237</AccountId>
        <AccountType/>
      </UserInfo>
      <UserInfo>
        <DisplayName>Gupta, Uvnik (Nokia - IN/Bangalore)</DisplayName>
        <AccountId>22035</AccountId>
        <AccountType/>
      </UserInfo>
      <UserInfo>
        <DisplayName>Che Haron, Firdaus (Nokia - MY/Kuala Lumpur)</DisplayName>
        <AccountId>12061</AccountId>
        <AccountType/>
      </UserInfo>
      <UserInfo>
        <DisplayName>Martins Joao Cruz, Catarina (Nokia - DE/Munich)</DisplayName>
        <AccountId>2894</AccountId>
        <AccountType/>
      </UserInfo>
      <UserInfo>
        <DisplayName>Gero</DisplayName>
        <AccountId>10416</AccountId>
        <AccountType/>
      </UserInfo>
    </SharedWithUsers>
    <TaxCatchAll xmlns="71c5aaf6-e6ce-465b-b873-5148d2a4c105" xsi:nil="true"/>
    <lcf76f155ced4ddcb4097134ff3c332f xmlns="f659f8e2-1f61-4f73-8f5e-1b768c00d15a">
      <Terms xmlns="http://schemas.microsoft.com/office/infopath/2007/PartnerControls"/>
    </lcf76f155ced4ddcb4097134ff3c332f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SharedContentType xmlns="Microsoft.SharePoint.Taxonomy.ContentTypeSync" SourceId="34c87397-5fc1-491e-85e7-d6110dbe9cbd" ContentTypeId="0x0101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2721952339BD4AA67475AA1B500C36" ma:contentTypeVersion="35" ma:contentTypeDescription="Create a new document." ma:contentTypeScope="" ma:versionID="25cbd2e6edbf97aa3421a795fb93c6ad">
  <xsd:schema xmlns:xsd="http://www.w3.org/2001/XMLSchema" xmlns:xs="http://www.w3.org/2001/XMLSchema" xmlns:p="http://schemas.microsoft.com/office/2006/metadata/properties" xmlns:ns2="71c5aaf6-e6ce-465b-b873-5148d2a4c105" xmlns:ns3="3b34c8f0-1ef5-4d1e-bb66-517ce7fe7356" xmlns:ns4="f659f8e2-1f61-4f73-8f5e-1b768c00d15a" xmlns:ns5="a3840f4f-04be-43d1-b2ef-6ff1382503c7" targetNamespace="http://schemas.microsoft.com/office/2006/metadata/properties" ma:root="true" ma:fieldsID="91e9f93669662c9d5d8ea89d83d13148" ns2:_="" ns3:_="" ns4:_="" ns5:_="">
    <xsd:import namespace="71c5aaf6-e6ce-465b-b873-5148d2a4c105"/>
    <xsd:import namespace="3b34c8f0-1ef5-4d1e-bb66-517ce7fe7356"/>
    <xsd:import namespace="f659f8e2-1f61-4f73-8f5e-1b768c00d15a"/>
    <xsd:import namespace="a3840f4f-04be-43d1-b2ef-6ff1382503c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HideFromDelve" minOccurs="0"/>
                <xsd:element ref="ns3:Information" minOccurs="0"/>
                <xsd:element ref="ns4:MediaServiceMetadata" minOccurs="0"/>
                <xsd:element ref="ns4:MediaServiceFastMetadata" minOccurs="0"/>
                <xsd:element ref="ns5:SharedWithUsers" minOccurs="0"/>
                <xsd:element ref="ns5:SharedWithDetails" minOccurs="0"/>
                <xsd:element ref="ns3:Associated_x0020_Task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  <xsd:element ref="ns2:TaxCatchAll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lcf76f155ced4ddcb4097134ff3c332f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aaf6-e6ce-465b-b873-5148d2a4c10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HideFromDelve" ma:index="11" nillable="true" ma:displayName="HideFromDelve" ma:default="0" ma:internalName="HideFromDelve">
      <xsd:simpleType>
        <xsd:restriction base="dms:Boolean"/>
      </xsd:simpleType>
    </xsd:element>
    <xsd:element name="TaxCatchAll" ma:index="23" nillable="true" ma:displayName="Taxonomy Catch All Column" ma:hidden="true" ma:list="{5e7e0358-ff3a-47d0-9dac-4f7f999c176b}" ma:internalName="TaxCatchAll" ma:showField="CatchAllData" ma:web="3b34c8f0-1ef5-4d1e-bb66-517ce7fe73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34c8f0-1ef5-4d1e-bb66-517ce7fe7356" elementFormDefault="qualified">
    <xsd:import namespace="http://schemas.microsoft.com/office/2006/documentManagement/types"/>
    <xsd:import namespace="http://schemas.microsoft.com/office/infopath/2007/PartnerControls"/>
    <xsd:element name="Information" ma:index="12" nillable="true" ma:displayName="Information" ma:description="Add here comments or additional information about the file" ma:internalName="Information">
      <xsd:simpleType>
        <xsd:restriction base="dms:Note">
          <xsd:maxLength value="255"/>
        </xsd:restriction>
      </xsd:simpleType>
    </xsd:element>
    <xsd:element name="Associated_x0020_Task" ma:index="17" nillable="true" ma:displayName="C5G Task" ma:description="Task working on topic" ma:internalName="Associated_x0020_Task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E2E Arch and Prot"/>
                    <xsd:enumeration value="5G Radio"/>
                    <xsd:enumeration value="LTE Radio"/>
                    <xsd:enumeration value="E2E CIoT"/>
                    <xsd:enumeration value="E2E Verticals"/>
                    <xsd:enumeration value="EPC"/>
                    <xsd:enumeration value="IMS"/>
                    <xsd:enumeration value="SEC"/>
                    <xsd:enumeration value="Network Management"/>
                    <xsd:enumeration value="Virtualization"/>
                    <xsd:enumeration value="MEC"/>
                    <xsd:enumeration value="None (handled in delegation)"/>
                  </xsd:restriction>
                </xsd:simple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59f8e2-1f61-4f73-8f5e-1b768c00d1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8" nillable="true" ma:taxonomy="true" ma:internalName="lcf76f155ced4ddcb4097134ff3c332f" ma:taxonomyFieldName="MediaServiceImageTags" ma:displayName="Image Tags" ma:readOnly="false" ma:fieldId="{5cf76f15-5ced-4ddc-b409-7134ff3c332f}" ma:taxonomyMulti="true" ma:sspId="34c87397-5fc1-491e-85e7-d6110dbe9cb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840f4f-04be-43d1-b2ef-6ff1382503c7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1A5087E-D875-4389-9B23-8434F51180AC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71c5aaf6-e6ce-465b-b873-5148d2a4c105"/>
    <ds:schemaRef ds:uri="a3840f4f-04be-43d1-b2ef-6ff1382503c7"/>
    <ds:schemaRef ds:uri="f659f8e2-1f61-4f73-8f5e-1b768c00d15a"/>
    <ds:schemaRef ds:uri="http://purl.org/dc/terms/"/>
    <ds:schemaRef ds:uri="3b34c8f0-1ef5-4d1e-bb66-517ce7fe7356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39E04D6-9FE6-4A04-9041-0CA0852139DC}">
  <ds:schemaRefs>
    <ds:schemaRef ds:uri="http://schemas.microsoft.com/sharepoint/events"/>
    <ds:schemaRef ds:uri="http://www.w3.org/2000/xmlns/"/>
  </ds:schemaRefs>
</ds:datastoreItem>
</file>

<file path=customXml/itemProps3.xml><?xml version="1.0" encoding="utf-8"?>
<ds:datastoreItem xmlns:ds="http://schemas.openxmlformats.org/officeDocument/2006/customXml" ds:itemID="{43ABA479-81A9-4350-9BB3-69032ADFDDF1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CB346C19-CE4F-4304-BB7A-A4A7A16A757B}">
  <ds:schemaRefs>
    <ds:schemaRef ds:uri="3b34c8f0-1ef5-4d1e-bb66-517ce7fe7356"/>
    <ds:schemaRef ds:uri="71c5aaf6-e6ce-465b-b873-5148d2a4c105"/>
    <ds:schemaRef ds:uri="a3840f4f-04be-43d1-b2ef-6ff1382503c7"/>
    <ds:schemaRef ds:uri="f659f8e2-1f61-4f73-8f5e-1b768c00d15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9DED2D23-3C7F-41E8-ACA8-DA482829100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A2</Template>
  <TotalTime>296</TotalTime>
  <Words>495</Words>
  <Application>Microsoft Office PowerPoint</Application>
  <PresentationFormat>On-screen Show (16:9)</PresentationFormat>
  <Paragraphs>9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8" baseType="lpstr">
      <vt:lpstr>MS Mincho</vt:lpstr>
      <vt:lpstr>Arial</vt:lpstr>
      <vt:lpstr>Calibri</vt:lpstr>
      <vt:lpstr>Lucida Grande</vt:lpstr>
      <vt:lpstr>Nokia Pure Headline Light</vt:lpstr>
      <vt:lpstr>Nokia Pure Headline Ultra Light</vt:lpstr>
      <vt:lpstr>Nokia Pure Text</vt:lpstr>
      <vt:lpstr>Nokia Pure Text Light</vt:lpstr>
      <vt:lpstr>1 White Master</vt:lpstr>
      <vt:lpstr>3_Blue</vt:lpstr>
      <vt:lpstr>5_White End Slide</vt:lpstr>
      <vt:lpstr>6_Gray</vt:lpstr>
      <vt:lpstr>15_1 White Master</vt:lpstr>
      <vt:lpstr>16_1 White Master</vt:lpstr>
      <vt:lpstr>17_1 White Master</vt:lpstr>
      <vt:lpstr>18_1 White Master</vt:lpstr>
      <vt:lpstr>20_1 White Master</vt:lpstr>
      <vt:lpstr>21_1 White Master</vt:lpstr>
      <vt:lpstr>22_1 White Master</vt:lpstr>
      <vt:lpstr>19_1 White Master</vt:lpstr>
      <vt:lpstr>Nokia Master White Background</vt:lpstr>
      <vt:lpstr>5_1 White 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itor</dc:creator>
  <cp:lastModifiedBy>LTHBM1</cp:lastModifiedBy>
  <cp:revision>9</cp:revision>
  <dcterms:created xsi:type="dcterms:W3CDTF">2020-02-02T00:43:49Z</dcterms:created>
  <dcterms:modified xsi:type="dcterms:W3CDTF">2023-04-04T10:4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2721952339BD4AA67475AA1B500C36</vt:lpwstr>
  </property>
  <property fmtid="{D5CDD505-2E9C-101B-9397-08002B2CF9AE}" pid="3" name="_dlc_DocIdItemGuid">
    <vt:lpwstr>de16717a-9826-41ec-ab20-908ffb9feb05</vt:lpwstr>
  </property>
  <property fmtid="{D5CDD505-2E9C-101B-9397-08002B2CF9AE}" pid="4" name="SharedWithUsers">
    <vt:lpwstr>30470;#Mion, Marcello (Nokia - IT/Vimercate);#21237;#Greijula, Sirkku (Nokia - FI/Tampere);#22035;#Gupta, Uvnik (Nokia - IN/Bangalore);#12061;#Che Haron, Firdaus (Nokia - MY/Kuala Lumpur);#2894;#Martins Joao Cruz, Catarina (Nokia - DE/Munich);#10416;#Gero</vt:lpwstr>
  </property>
  <property fmtid="{D5CDD505-2E9C-101B-9397-08002B2CF9AE}" pid="5" name="MediaServiceImageTags">
    <vt:lpwstr/>
  </property>
</Properties>
</file>